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6" r:id="rId3"/>
    <p:sldMasterId id="2147483668" r:id="rId4"/>
  </p:sldMasterIdLst>
  <p:notesMasterIdLst>
    <p:notesMasterId r:id="rId21"/>
  </p:notesMasterIdLst>
  <p:sldIdLst>
    <p:sldId id="277" r:id="rId5"/>
    <p:sldId id="276" r:id="rId6"/>
    <p:sldId id="270" r:id="rId7"/>
    <p:sldId id="275" r:id="rId8"/>
    <p:sldId id="257" r:id="rId9"/>
    <p:sldId id="268" r:id="rId10"/>
    <p:sldId id="272" r:id="rId11"/>
    <p:sldId id="265" r:id="rId12"/>
    <p:sldId id="263" r:id="rId13"/>
    <p:sldId id="269" r:id="rId14"/>
    <p:sldId id="271" r:id="rId15"/>
    <p:sldId id="267" r:id="rId16"/>
    <p:sldId id="259" r:id="rId17"/>
    <p:sldId id="273" r:id="rId18"/>
    <p:sldId id="266" r:id="rId19"/>
    <p:sldId id="274" r:id="rId2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500FB7-2C20-4737-85D2-928A4029B140}" v="87" dt="2023-07-13T18:23:32.2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4660"/>
  </p:normalViewPr>
  <p:slideViewPr>
    <p:cSldViewPr snapToGrid="0">
      <p:cViewPr varScale="1">
        <p:scale>
          <a:sx n="72" d="100"/>
          <a:sy n="72" d="100"/>
        </p:scale>
        <p:origin x="63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FC7AC2-E09E-4C08-A600-A885A2727881}" type="datetimeFigureOut">
              <a:rPr lang="es-ES" smtClean="0"/>
              <a:t>15/07/20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524E4-0979-484E-AE28-E2C15EEE4277}" type="slidenum">
              <a:rPr lang="es-ES" smtClean="0"/>
              <a:t>‹#›</a:t>
            </a:fld>
            <a:endParaRPr lang="es-ES"/>
          </a:p>
        </p:txBody>
      </p:sp>
    </p:spTree>
    <p:extLst>
      <p:ext uri="{BB962C8B-B14F-4D97-AF65-F5344CB8AC3E}">
        <p14:creationId xmlns:p14="http://schemas.microsoft.com/office/powerpoint/2010/main" val="1047703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F63A1A8E-D240-4597-907A-C0F760B77B43}" type="slidenum">
              <a:rPr lang="es-MX" smtClean="0">
                <a:solidFill>
                  <a:prstClr val="black"/>
                </a:solidFill>
              </a:rPr>
              <a:pPr/>
              <a:t>13</a:t>
            </a:fld>
            <a:endParaRPr lang="es-MX" dirty="0">
              <a:solidFill>
                <a:prstClr val="black"/>
              </a:solidFill>
            </a:endParaRPr>
          </a:p>
        </p:txBody>
      </p:sp>
    </p:spTree>
    <p:extLst>
      <p:ext uri="{BB962C8B-B14F-4D97-AF65-F5344CB8AC3E}">
        <p14:creationId xmlns:p14="http://schemas.microsoft.com/office/powerpoint/2010/main" val="4152217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pitulo con header">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71CE7A38-A914-496D-A909-4506FEC917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7" name="Objeto 6" hidden="1">
                        <a:extLst>
                          <a:ext uri="{FF2B5EF4-FFF2-40B4-BE49-F238E27FC236}">
                            <a16:creationId xmlns:a16="http://schemas.microsoft.com/office/drawing/2014/main" id="{71CE7A38-A914-496D-A909-4506FEC91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texto 4">
            <a:extLst>
              <a:ext uri="{FF2B5EF4-FFF2-40B4-BE49-F238E27FC236}">
                <a16:creationId xmlns:a16="http://schemas.microsoft.com/office/drawing/2014/main" id="{FC496BD4-E19E-4606-AF6C-FCA3A21D857B}"/>
              </a:ext>
            </a:extLst>
          </p:cNvPr>
          <p:cNvSpPr>
            <a:spLocks noGrp="1"/>
          </p:cNvSpPr>
          <p:nvPr>
            <p:ph type="body" sz="quarter" idx="20" hasCustomPrompt="1"/>
          </p:nvPr>
        </p:nvSpPr>
        <p:spPr>
          <a:xfrm>
            <a:off x="122046" y="217701"/>
            <a:ext cx="288000" cy="3240000"/>
          </a:xfrm>
          <a:prstGeom prst="rect">
            <a:avLst/>
          </a:prstGeom>
        </p:spPr>
        <p:txBody>
          <a:bodyPr vert="vert270" anchor="ctr"/>
          <a:lstStyle>
            <a:lvl1pPr marL="0" marR="0" indent="0" algn="r" defTabSz="412750" rtl="0" latinLnBrk="0">
              <a:lnSpc>
                <a:spcPct val="110000"/>
              </a:lnSpc>
              <a:spcBef>
                <a:spcPts val="0"/>
              </a:spcBef>
              <a:spcAft>
                <a:spcPts val="0"/>
              </a:spcAft>
              <a:buClrTx/>
              <a:buSzTx/>
              <a:buFontTx/>
              <a:buNone/>
              <a:tabLst/>
              <a:defRPr kumimoji="0" lang="es-ES" sz="1200" b="0" i="0" u="none" strike="noStrike" kern="0" cap="none" spc="0" normalizeH="0" baseline="0" noProof="0" dirty="0">
                <a:ln>
                  <a:noFill/>
                </a:ln>
                <a:solidFill>
                  <a:prstClr val="black"/>
                </a:solidFill>
                <a:effectLst/>
                <a:uLnTx/>
                <a:uFillTx/>
                <a:latin typeface="+mj-lt"/>
                <a:ea typeface="Graphik-SemiboldItalic"/>
                <a:cs typeface="Arial" panose="020B0604020202020204" pitchFamily="34" charset="0"/>
                <a:sym typeface="Graphik Semibold"/>
              </a:defRPr>
            </a:lvl1pPr>
          </a:lstStyle>
          <a:p>
            <a:pPr lvl="0"/>
            <a:r>
              <a:rPr lang="es-ES" noProof="0"/>
              <a:t>CAPITULO</a:t>
            </a:r>
          </a:p>
        </p:txBody>
      </p:sp>
      <p:sp>
        <p:nvSpPr>
          <p:cNvPr id="5" name="1 Título">
            <a:extLst>
              <a:ext uri="{FF2B5EF4-FFF2-40B4-BE49-F238E27FC236}">
                <a16:creationId xmlns:a16="http://schemas.microsoft.com/office/drawing/2014/main" id="{365BE723-C7F5-4828-8A8E-4F4B0D3CA312}"/>
              </a:ext>
            </a:extLst>
          </p:cNvPr>
          <p:cNvSpPr>
            <a:spLocks noGrp="1"/>
          </p:cNvSpPr>
          <p:nvPr>
            <p:ph type="title" hasCustomPrompt="1"/>
          </p:nvPr>
        </p:nvSpPr>
        <p:spPr>
          <a:xfrm>
            <a:off x="511452" y="611580"/>
            <a:ext cx="11520000" cy="576000"/>
          </a:xfrm>
          <a:prstGeom prst="rect">
            <a:avLst/>
          </a:prstGeom>
        </p:spPr>
        <p:txBody>
          <a:bodyPr vert="horz"/>
          <a:lstStyle>
            <a:lvl1pPr marL="0" marR="0" indent="0" algn="l" defTabSz="412750" rtl="0" latinLnBrk="0">
              <a:lnSpc>
                <a:spcPct val="110000"/>
              </a:lnSpc>
              <a:spcBef>
                <a:spcPts val="0"/>
              </a:spcBef>
              <a:spcAft>
                <a:spcPts val="0"/>
              </a:spcAft>
              <a:buClrTx/>
              <a:buSzTx/>
              <a:buFontTx/>
              <a:buNone/>
              <a:tabLst/>
              <a:defRPr kumimoji="0" lang="es-ES" sz="1400" b="0" i="0" u="none" strike="noStrike" kern="0" cap="none" spc="0" normalizeH="0" baseline="0" dirty="0">
                <a:ln>
                  <a:noFill/>
                </a:ln>
                <a:solidFill>
                  <a:prstClr val="black"/>
                </a:solidFill>
                <a:effectLst/>
                <a:uLnTx/>
                <a:uFillTx/>
                <a:latin typeface="+mj-lt"/>
                <a:ea typeface="Graphik-SemiboldItalic"/>
                <a:cs typeface="Arial" panose="020B0604020202020204" pitchFamily="34" charset="0"/>
                <a:sym typeface="Graphik Semibold"/>
              </a:defRPr>
            </a:lvl1pPr>
          </a:lstStyle>
          <a:p>
            <a:r>
              <a:rPr lang="es-ES" err="1"/>
              <a:t>Header</a:t>
            </a:r>
            <a:endParaRPr lang="es-ES"/>
          </a:p>
        </p:txBody>
      </p:sp>
      <p:sp>
        <p:nvSpPr>
          <p:cNvPr id="6" name="Marcador de texto 4">
            <a:extLst>
              <a:ext uri="{FF2B5EF4-FFF2-40B4-BE49-F238E27FC236}">
                <a16:creationId xmlns:a16="http://schemas.microsoft.com/office/drawing/2014/main" id="{2B8A18F4-A796-4B64-B991-B0130496AFD5}"/>
              </a:ext>
            </a:extLst>
          </p:cNvPr>
          <p:cNvSpPr>
            <a:spLocks noGrp="1"/>
          </p:cNvSpPr>
          <p:nvPr>
            <p:ph type="body" sz="quarter" idx="21" hasCustomPrompt="1"/>
          </p:nvPr>
        </p:nvSpPr>
        <p:spPr>
          <a:xfrm>
            <a:off x="511452" y="217701"/>
            <a:ext cx="11520000" cy="393879"/>
          </a:xfrm>
          <a:prstGeom prst="rect">
            <a:avLst/>
          </a:prstGeom>
        </p:spPr>
        <p:txBody>
          <a:bodyPr anchor="ctr"/>
          <a:lstStyle>
            <a:lvl1pPr marL="0" marR="0" indent="0" algn="l" defTabSz="412750" rtl="0" latinLnBrk="0">
              <a:lnSpc>
                <a:spcPct val="110000"/>
              </a:lnSpc>
              <a:spcBef>
                <a:spcPts val="0"/>
              </a:spcBef>
              <a:spcAft>
                <a:spcPts val="0"/>
              </a:spcAft>
              <a:buClrTx/>
              <a:buSzTx/>
              <a:buFontTx/>
              <a:buNone/>
              <a:tabLst/>
              <a:defRPr kumimoji="0" lang="es-ES" sz="2000" b="1" i="0" u="none" strike="noStrike" kern="0" cap="none" spc="0" normalizeH="0" baseline="0" noProof="0" dirty="0">
                <a:ln>
                  <a:noFill/>
                </a:ln>
                <a:solidFill>
                  <a:prstClr val="black"/>
                </a:solidFill>
                <a:effectLst/>
                <a:uLnTx/>
                <a:uFillTx/>
                <a:latin typeface="+mj-lt"/>
                <a:ea typeface="Graphik-SemiboldItalic"/>
                <a:cs typeface="Arial" panose="020B0604020202020204" pitchFamily="34" charset="0"/>
                <a:sym typeface="Graphik Semibold"/>
              </a:defRPr>
            </a:lvl1pPr>
          </a:lstStyle>
          <a:p>
            <a:pPr lvl="0"/>
            <a:r>
              <a:rPr lang="es-ES" noProof="0"/>
              <a:t>Título</a:t>
            </a:r>
          </a:p>
        </p:txBody>
      </p:sp>
      <p:cxnSp>
        <p:nvCxnSpPr>
          <p:cNvPr id="11" name="直線コネクタ 2"/>
          <p:cNvCxnSpPr/>
          <p:nvPr userDrawn="1"/>
        </p:nvCxnSpPr>
        <p:spPr>
          <a:xfrm>
            <a:off x="237864" y="6500799"/>
            <a:ext cx="11716272" cy="0"/>
          </a:xfrm>
          <a:prstGeom prst="line">
            <a:avLst/>
          </a:prstGeom>
          <a:noFill/>
          <a:ln w="3175" cap="flat" cmpd="sng" algn="ctr">
            <a:solidFill>
              <a:srgbClr val="000000"/>
            </a:solidFill>
            <a:prstDash val="solid"/>
          </a:ln>
          <a:effectLst/>
        </p:spPr>
      </p:cxnSp>
      <p:sp>
        <p:nvSpPr>
          <p:cNvPr id="3" name="Marcador de contenido 2"/>
          <p:cNvSpPr>
            <a:spLocks noGrp="1"/>
          </p:cNvSpPr>
          <p:nvPr>
            <p:ph sz="quarter" idx="22" hasCustomPrompt="1"/>
          </p:nvPr>
        </p:nvSpPr>
        <p:spPr>
          <a:xfrm>
            <a:off x="511452" y="1356753"/>
            <a:ext cx="11520000" cy="4944294"/>
          </a:xfrm>
          <a:prstGeom prst="rect">
            <a:avLst/>
          </a:prstGeom>
        </p:spPr>
        <p:txBody>
          <a:bodyPr vert="horz"/>
          <a:lstStyle>
            <a:lvl1pPr>
              <a:defRPr kumimoji="0" lang="es-ES" sz="1400" kern="0" spc="0" normalizeH="0" dirty="0">
                <a:ln>
                  <a:noFill/>
                </a:ln>
                <a:solidFill>
                  <a:prstClr val="black"/>
                </a:solidFill>
                <a:effectLst/>
                <a:uLnTx/>
                <a:latin typeface="+mj-lt"/>
                <a:ea typeface="Graphik-SemiboldItalic"/>
                <a:cs typeface="Arial" panose="020B0604020202020204" pitchFamily="34" charset="0"/>
                <a:sym typeface="Graphik Semibold"/>
              </a:defRPr>
            </a:lvl1pPr>
          </a:lstStyle>
          <a:p>
            <a:pPr lvl="0" rtl="0">
              <a:lnSpc>
                <a:spcPct val="110000"/>
              </a:lnSpc>
              <a:spcBef>
                <a:spcPts val="0"/>
              </a:spcBef>
            </a:pPr>
            <a:r>
              <a:rPr lang="es-ES"/>
              <a:t>Content</a:t>
            </a:r>
          </a:p>
        </p:txBody>
      </p:sp>
      <p:cxnSp>
        <p:nvCxnSpPr>
          <p:cNvPr id="13" name="Conector recto 12"/>
          <p:cNvCxnSpPr/>
          <p:nvPr userDrawn="1"/>
        </p:nvCxnSpPr>
        <p:spPr>
          <a:xfrm>
            <a:off x="511452" y="1263535"/>
            <a:ext cx="1111805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375137163"/>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 - 1 column + key sentence">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E458C40D-6E29-3745-44F3-CFEF9DB7C6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7705" b="49622"/>
          <a:stretch/>
        </p:blipFill>
        <p:spPr>
          <a:xfrm>
            <a:off x="-12060" y="-1631"/>
            <a:ext cx="12204060" cy="1859412"/>
          </a:xfrm>
          <a:prstGeom prst="rect">
            <a:avLst/>
          </a:prstGeom>
        </p:spPr>
      </p:pic>
      <p:graphicFrame>
        <p:nvGraphicFramePr>
          <p:cNvPr id="2" name="Objeto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25" imgH="424" progId="TCLayout.ActiveDocument.1">
                  <p:embed/>
                </p:oleObj>
              </mc:Choice>
              <mc:Fallback>
                <p:oleObj name="Diapositiva de think-cell" r:id="rId4" imgW="425" imgH="424" progId="TCLayout.ActiveDocument.1">
                  <p:embed/>
                  <p:pic>
                    <p:nvPicPr>
                      <p:cNvPr id="2" name="Objeto 1"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Straight Connector 393"/>
          <p:cNvCxnSpPr/>
          <p:nvPr userDrawn="1"/>
        </p:nvCxnSpPr>
        <p:spPr>
          <a:xfrm>
            <a:off x="300000" y="944157"/>
            <a:ext cx="1159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266663" y="158591"/>
            <a:ext cx="11001796" cy="388485"/>
          </a:xfrm>
          <a:prstGeom prst="rect">
            <a:avLst/>
          </a:prstGeom>
        </p:spPr>
        <p:txBody>
          <a:bodyPr tIns="82800" anchor="ctr" anchorCtr="0">
            <a:noAutofit/>
          </a:bodyPr>
          <a:lstStyle>
            <a:lvl1pPr marL="0" indent="0" algn="l" defTabSz="914400" rtl="0" eaLnBrk="1" latinLnBrk="0" hangingPunct="1">
              <a:spcBef>
                <a:spcPts val="600"/>
              </a:spcBef>
              <a:buNone/>
              <a:defRPr lang="en-US" sz="2400" b="1" kern="1200" spc="300" noProof="0" dirty="0">
                <a:solidFill>
                  <a:srgbClr val="000000"/>
                </a:solidFill>
                <a:latin typeface="Roboto" panose="02000000000000000000" pitchFamily="2" charset="0"/>
                <a:ea typeface="Roboto" panose="02000000000000000000" pitchFamily="2" charset="0"/>
                <a:cs typeface="+mn-cs"/>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noProof="0" dirty="0"/>
              <a:t>TITLE (FONT 24)-</a:t>
            </a:r>
          </a:p>
        </p:txBody>
      </p:sp>
      <p:sp>
        <p:nvSpPr>
          <p:cNvPr id="16" name="Espaço Reservado para Texto 2">
            <a:extLst>
              <a:ext uri="{FF2B5EF4-FFF2-40B4-BE49-F238E27FC236}">
                <a16:creationId xmlns:a16="http://schemas.microsoft.com/office/drawing/2014/main" id="{D5276FDB-D5EA-7940-B1F0-A155F73136E9}"/>
              </a:ext>
            </a:extLst>
          </p:cNvPr>
          <p:cNvSpPr>
            <a:spLocks noGrp="1"/>
          </p:cNvSpPr>
          <p:nvPr>
            <p:ph type="body" idx="32" hasCustomPrompt="1"/>
          </p:nvPr>
        </p:nvSpPr>
        <p:spPr>
          <a:xfrm>
            <a:off x="266663" y="998847"/>
            <a:ext cx="11658675" cy="477754"/>
          </a:xfrm>
          <a:prstGeom prst="rect">
            <a:avLst/>
          </a:prstGeom>
        </p:spPr>
        <p:txBody>
          <a:bodyPr anchor="t" anchorCtr="0">
            <a:noAutofit/>
          </a:bodyPr>
          <a:lstStyle>
            <a:lvl1pPr marL="0" indent="0" algn="just" defTabSz="914400" rtl="0" eaLnBrk="1" latinLnBrk="0" hangingPunct="1">
              <a:lnSpc>
                <a:spcPct val="100000"/>
              </a:lnSpc>
              <a:spcBef>
                <a:spcPts val="200"/>
              </a:spcBef>
              <a:spcAft>
                <a:spcPts val="200"/>
              </a:spcAft>
              <a:buFont typeface="Arial" panose="020B0604020202020204" pitchFamily="34" charset="0"/>
              <a:buNone/>
              <a:tabLst>
                <a:tab pos="90488" algn="l"/>
              </a:tabLst>
              <a:defRPr lang="es-MX" sz="1400" b="1" kern="1200" noProof="0" dirty="0">
                <a:solidFill>
                  <a:srgbClr val="000000"/>
                </a:solidFill>
                <a:latin typeface="Roboto" panose="02000000000000000000" pitchFamily="2" charset="0"/>
                <a:ea typeface="Roboto" panose="02000000000000000000" pitchFamily="2" charset="0"/>
                <a:cs typeface="+mn-cs"/>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noProof="0" dirty="0" err="1"/>
              <a:t>Subtitle</a:t>
            </a:r>
            <a:r>
              <a:rPr lang="es-MX" noProof="0" dirty="0"/>
              <a:t> </a:t>
            </a:r>
            <a:r>
              <a:rPr lang="es-MX" noProof="0" dirty="0" err="1"/>
              <a:t>or</a:t>
            </a:r>
            <a:r>
              <a:rPr lang="es-MX" noProof="0" dirty="0"/>
              <a:t> short </a:t>
            </a:r>
            <a:r>
              <a:rPr lang="es-MX" noProof="0" dirty="0" err="1"/>
              <a:t>description</a:t>
            </a:r>
            <a:r>
              <a:rPr lang="es-MX" noProof="0" dirty="0"/>
              <a:t> (</a:t>
            </a:r>
            <a:r>
              <a:rPr lang="es-MX" noProof="0" dirty="0" err="1"/>
              <a:t>optional</a:t>
            </a:r>
            <a:r>
              <a:rPr lang="es-MX" noProof="0" dirty="0"/>
              <a:t>), up </a:t>
            </a:r>
            <a:r>
              <a:rPr lang="es-MX" noProof="0" dirty="0" err="1"/>
              <a:t>to</a:t>
            </a:r>
            <a:r>
              <a:rPr lang="es-MX" noProof="0" dirty="0"/>
              <a:t> 2 </a:t>
            </a:r>
            <a:r>
              <a:rPr lang="es-MX" noProof="0" dirty="0" err="1"/>
              <a:t>lines</a:t>
            </a:r>
            <a:r>
              <a:rPr lang="es-MX" noProof="0" dirty="0"/>
              <a:t> (</a:t>
            </a:r>
            <a:r>
              <a:rPr lang="es-MX" noProof="0" dirty="0" err="1"/>
              <a:t>font</a:t>
            </a:r>
            <a:r>
              <a:rPr lang="es-MX" noProof="0" dirty="0"/>
              <a:t> 24)</a:t>
            </a:r>
          </a:p>
        </p:txBody>
      </p:sp>
      <p:sp>
        <p:nvSpPr>
          <p:cNvPr id="18" name="Espaço Reservado para Texto 2">
            <a:extLst>
              <a:ext uri="{FF2B5EF4-FFF2-40B4-BE49-F238E27FC236}">
                <a16:creationId xmlns:a16="http://schemas.microsoft.com/office/drawing/2014/main" id="{CBA7D27C-BCE1-2A48-99D3-9AC25118A3AB}"/>
              </a:ext>
            </a:extLst>
          </p:cNvPr>
          <p:cNvSpPr>
            <a:spLocks noGrp="1"/>
          </p:cNvSpPr>
          <p:nvPr>
            <p:ph type="body" idx="33" hasCustomPrompt="1"/>
          </p:nvPr>
        </p:nvSpPr>
        <p:spPr>
          <a:xfrm>
            <a:off x="266663" y="601765"/>
            <a:ext cx="11001796" cy="287703"/>
          </a:xfrm>
          <a:prstGeom prst="rect">
            <a:avLst/>
          </a:prstGeom>
        </p:spPr>
        <p:txBody>
          <a:bodyPr tIns="36000" anchor="ctr" anchorCtr="0">
            <a:noAutofit/>
          </a:bodyPr>
          <a:lstStyle>
            <a:lvl1pPr marL="0" indent="0" algn="l" defTabSz="914400" rtl="0" eaLnBrk="1" latinLnBrk="0" hangingPunct="1">
              <a:lnSpc>
                <a:spcPct val="100000"/>
              </a:lnSpc>
              <a:spcBef>
                <a:spcPts val="600"/>
              </a:spcBef>
              <a:buFont typeface="Arial" panose="020B0604020202020204" pitchFamily="34" charset="0"/>
              <a:buNone/>
              <a:defRPr lang="es-MX" sz="1200" b="1" kern="1200" spc="0" noProof="0" dirty="0">
                <a:solidFill>
                  <a:srgbClr val="000000"/>
                </a:solidFill>
                <a:latin typeface="Roboto" panose="02000000000000000000" pitchFamily="2" charset="0"/>
                <a:ea typeface="Roboto" panose="02000000000000000000" pitchFamily="2" charset="0"/>
                <a:cs typeface="+mn-cs"/>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noProof="0" dirty="0"/>
              <a:t>TITLE (FONT 12)</a:t>
            </a:r>
          </a:p>
        </p:txBody>
      </p:sp>
      <p:pic>
        <p:nvPicPr>
          <p:cNvPr id="3187" name="Picture 115" descr="El Palacio de Hierro (@palaciohierro) | Twitte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2537060" y="547076"/>
            <a:ext cx="1136297" cy="1136297"/>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o 7"/>
          <p:cNvGrpSpPr/>
          <p:nvPr userDrawn="1"/>
        </p:nvGrpSpPr>
        <p:grpSpPr>
          <a:xfrm>
            <a:off x="12537060" y="1863524"/>
            <a:ext cx="533178" cy="2215780"/>
            <a:chOff x="1828057" y="1602695"/>
            <a:chExt cx="8496000" cy="4837844"/>
          </a:xfrm>
        </p:grpSpPr>
        <p:sp>
          <p:nvSpPr>
            <p:cNvPr id="9" name="Rectangle 4"/>
            <p:cNvSpPr/>
            <p:nvPr/>
          </p:nvSpPr>
          <p:spPr>
            <a:xfrm>
              <a:off x="1828057" y="1602695"/>
              <a:ext cx="8496000" cy="1152000"/>
            </a:xfrm>
            <a:prstGeom prst="rect">
              <a:avLst/>
            </a:prstGeom>
            <a:solidFill>
              <a:srgbClr val="FFC429"/>
            </a:solidFill>
            <a:ln w="19050" cap="flat">
              <a:noFill/>
              <a:prstDash val="solid"/>
              <a:miter lim="800000"/>
            </a:ln>
            <a:effectLst/>
            <a:sp3d/>
          </p:spPr>
          <p:txBody>
            <a:bodyPr rot="0" spcFirstLastPara="1" vertOverflow="overflow" horzOverflow="overflow" vert="horz" wrap="square" lIns="45719" tIns="45719" rIns="45719" bIns="45719" numCol="1" spcCol="38100" rtlCol="0" fromWordArt="0" anchor="ctr" anchorCtr="0" forceAA="0" compatLnSpc="1">
              <a:prstTxWarp prst="textNoShape">
                <a:avLst/>
              </a:prstTxWarp>
              <a:noAutofit/>
            </a:bodyPr>
            <a:lstStyle/>
            <a:p>
              <a:pPr algn="ctr">
                <a:defRPr/>
              </a:pPr>
              <a:endParaRPr lang="es-MX" b="1" kern="0" dirty="0">
                <a:solidFill>
                  <a:srgbClr val="505050"/>
                </a:solidFill>
                <a:latin typeface="Roboto" panose="02000000000000000000" pitchFamily="2" charset="0"/>
                <a:ea typeface="Roboto" panose="02000000000000000000" pitchFamily="2" charset="0"/>
                <a:sym typeface="Roboto" panose="02000000000000000000" pitchFamily="2" charset="0"/>
              </a:endParaRPr>
            </a:p>
          </p:txBody>
        </p:sp>
        <p:sp>
          <p:nvSpPr>
            <p:cNvPr id="10" name="Rectangle 4"/>
            <p:cNvSpPr/>
            <p:nvPr/>
          </p:nvSpPr>
          <p:spPr>
            <a:xfrm>
              <a:off x="1828057" y="2831310"/>
              <a:ext cx="8496000" cy="1152000"/>
            </a:xfrm>
            <a:prstGeom prst="rect">
              <a:avLst/>
            </a:prstGeom>
            <a:solidFill>
              <a:srgbClr val="664900"/>
            </a:solidFill>
            <a:ln w="19050" cap="flat">
              <a:noFill/>
              <a:prstDash val="solid"/>
              <a:miter lim="800000"/>
            </a:ln>
            <a:effectLst/>
            <a:sp3d/>
          </p:spPr>
          <p:txBody>
            <a:bodyPr rot="0" spcFirstLastPara="1" vertOverflow="overflow" horzOverflow="overflow" vert="horz" wrap="square" lIns="45719" tIns="45719" rIns="45719" bIns="45719" numCol="1" spcCol="38100" rtlCol="0" fromWordArt="0" anchor="ctr" anchorCtr="0" forceAA="0" compatLnSpc="1">
              <a:prstTxWarp prst="textNoShape">
                <a:avLst/>
              </a:prstTxWarp>
              <a:noAutofit/>
            </a:bodyPr>
            <a:lstStyle/>
            <a:p>
              <a:pPr algn="ctr">
                <a:defRPr/>
              </a:pPr>
              <a:endParaRPr lang="es-MX" b="1" kern="0" dirty="0">
                <a:solidFill>
                  <a:srgbClr val="505050"/>
                </a:solidFill>
                <a:latin typeface="Roboto" panose="02000000000000000000" pitchFamily="2" charset="0"/>
                <a:ea typeface="Roboto" panose="02000000000000000000" pitchFamily="2" charset="0"/>
                <a:sym typeface="Roboto" panose="02000000000000000000" pitchFamily="2" charset="0"/>
              </a:endParaRPr>
            </a:p>
          </p:txBody>
        </p:sp>
        <p:sp>
          <p:nvSpPr>
            <p:cNvPr id="11" name="Rectangle 4"/>
            <p:cNvSpPr/>
            <p:nvPr/>
          </p:nvSpPr>
          <p:spPr>
            <a:xfrm>
              <a:off x="1828057" y="4059925"/>
              <a:ext cx="8496000" cy="1152000"/>
            </a:xfrm>
            <a:prstGeom prst="rect">
              <a:avLst/>
            </a:prstGeom>
            <a:solidFill>
              <a:srgbClr val="BFBFBF"/>
            </a:solidFill>
            <a:ln w="19050" cap="flat">
              <a:noFill/>
              <a:prstDash val="solid"/>
              <a:miter lim="800000"/>
            </a:ln>
            <a:effectLst/>
            <a:sp3d/>
          </p:spPr>
          <p:txBody>
            <a:bodyPr rot="0" spcFirstLastPara="1" vertOverflow="overflow" horzOverflow="overflow" vert="horz" wrap="square" lIns="45719" tIns="45719" rIns="45719" bIns="45719" numCol="1" spcCol="38100" rtlCol="0" fromWordArt="0" anchor="ctr" anchorCtr="0" forceAA="0" compatLnSpc="1">
              <a:prstTxWarp prst="textNoShape">
                <a:avLst/>
              </a:prstTxWarp>
              <a:noAutofit/>
            </a:bodyPr>
            <a:lstStyle/>
            <a:p>
              <a:pPr algn="ctr">
                <a:defRPr/>
              </a:pPr>
              <a:endParaRPr lang="es-MX" b="1" kern="0" dirty="0">
                <a:solidFill>
                  <a:srgbClr val="505050"/>
                </a:solidFill>
                <a:latin typeface="Roboto" panose="02000000000000000000" pitchFamily="2" charset="0"/>
                <a:ea typeface="Roboto" panose="02000000000000000000" pitchFamily="2" charset="0"/>
                <a:sym typeface="Roboto" panose="02000000000000000000" pitchFamily="2" charset="0"/>
              </a:endParaRPr>
            </a:p>
          </p:txBody>
        </p:sp>
        <p:sp>
          <p:nvSpPr>
            <p:cNvPr id="12" name="Rectangle 4"/>
            <p:cNvSpPr/>
            <p:nvPr/>
          </p:nvSpPr>
          <p:spPr>
            <a:xfrm>
              <a:off x="1828057" y="5288539"/>
              <a:ext cx="8496000" cy="1152000"/>
            </a:xfrm>
            <a:prstGeom prst="rect">
              <a:avLst/>
            </a:prstGeom>
            <a:solidFill>
              <a:srgbClr val="000000"/>
            </a:solidFill>
            <a:ln w="19050" cap="flat">
              <a:noFill/>
              <a:prstDash val="solid"/>
              <a:miter lim="800000"/>
            </a:ln>
            <a:effectLst/>
            <a:sp3d/>
          </p:spPr>
          <p:txBody>
            <a:bodyPr rot="0" spcFirstLastPara="1" vertOverflow="overflow" horzOverflow="overflow" vert="horz" wrap="square" lIns="45719" tIns="45719" rIns="45719" bIns="45719" numCol="1" spcCol="38100" rtlCol="0" fromWordArt="0" anchor="ctr" anchorCtr="0" forceAA="0" compatLnSpc="1">
              <a:prstTxWarp prst="textNoShape">
                <a:avLst/>
              </a:prstTxWarp>
              <a:noAutofit/>
            </a:bodyPr>
            <a:lstStyle/>
            <a:p>
              <a:pPr algn="ctr">
                <a:defRPr/>
              </a:pPr>
              <a:endParaRPr lang="es-MX" b="1" kern="0" dirty="0">
                <a:solidFill>
                  <a:srgbClr val="505050"/>
                </a:solidFill>
                <a:latin typeface="Roboto" panose="02000000000000000000" pitchFamily="2" charset="0"/>
                <a:ea typeface="Roboto" panose="02000000000000000000" pitchFamily="2" charset="0"/>
                <a:sym typeface="Roboto" panose="02000000000000000000" pitchFamily="2" charset="0"/>
              </a:endParaRPr>
            </a:p>
          </p:txBody>
        </p:sp>
      </p:grpSp>
    </p:spTree>
    <p:extLst>
      <p:ext uri="{BB962C8B-B14F-4D97-AF65-F5344CB8AC3E}">
        <p14:creationId xmlns:p14="http://schemas.microsoft.com/office/powerpoint/2010/main" val="238553529"/>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 1 column + key sentence">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D55D94D-4E2C-4CD9-4161-15CCCE24282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5" imgH="424" progId="TCLayout.ActiveDocument.1">
                  <p:embed/>
                </p:oleObj>
              </mc:Choice>
              <mc:Fallback>
                <p:oleObj name="Diapositiva de think-cell" r:id="rId3" imgW="425" imgH="424" progId="TCLayout.ActiveDocument.1">
                  <p:embed/>
                  <p:pic>
                    <p:nvPicPr>
                      <p:cNvPr id="2" name="Objeto 1" hidden="1">
                        <a:extLst>
                          <a:ext uri="{FF2B5EF4-FFF2-40B4-BE49-F238E27FC236}">
                            <a16:creationId xmlns:a16="http://schemas.microsoft.com/office/drawing/2014/main" id="{4D55D94D-4E2C-4CD9-4161-15CCCE242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ço Reservado para Conteúdo 2">
            <a:extLst>
              <a:ext uri="{FF2B5EF4-FFF2-40B4-BE49-F238E27FC236}">
                <a16:creationId xmlns:a16="http://schemas.microsoft.com/office/drawing/2014/main" id="{9D6C072C-8288-5B45-BB9F-16ACF77F0781}"/>
              </a:ext>
            </a:extLst>
          </p:cNvPr>
          <p:cNvSpPr>
            <a:spLocks noGrp="1"/>
          </p:cNvSpPr>
          <p:nvPr>
            <p:ph sz="half" idx="1" hasCustomPrompt="1"/>
          </p:nvPr>
        </p:nvSpPr>
        <p:spPr>
          <a:xfrm>
            <a:off x="654113" y="2257568"/>
            <a:ext cx="10395909" cy="3015978"/>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atin typeface="Roboto" panose="02000000000000000000" pitchFamily="2" charset="0"/>
                <a:ea typeface="Roboto" panose="02000000000000000000" pitchFamily="2" charset="0"/>
                <a:sym typeface="Roboto" panose="02000000000000000000" pitchFamily="2"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s-MX" noProof="0"/>
              <a:t>Text – up to 10 lines (font 16)</a:t>
            </a:r>
            <a:endParaRPr lang="es-MX" noProof="0" dirty="0"/>
          </a:p>
        </p:txBody>
      </p:sp>
      <p:sp>
        <p:nvSpPr>
          <p:cNvPr id="8" name="Espaço Reservado para Texto 2">
            <a:extLst>
              <a:ext uri="{FF2B5EF4-FFF2-40B4-BE49-F238E27FC236}">
                <a16:creationId xmlns:a16="http://schemas.microsoft.com/office/drawing/2014/main" id="{CBA7D27C-BCE1-2A48-99D3-9AC25118A3AB}"/>
              </a:ext>
            </a:extLst>
          </p:cNvPr>
          <p:cNvSpPr>
            <a:spLocks noGrp="1"/>
          </p:cNvSpPr>
          <p:nvPr>
            <p:ph type="body" idx="13" hasCustomPrompt="1"/>
          </p:nvPr>
        </p:nvSpPr>
        <p:spPr>
          <a:xfrm>
            <a:off x="654113" y="379434"/>
            <a:ext cx="10128186" cy="454353"/>
          </a:xfrm>
        </p:spPr>
        <p:txBody>
          <a:bodyPr anchor="t" anchorCtr="0">
            <a:noAutofit/>
          </a:bodyPr>
          <a:lstStyle>
            <a:lvl1pPr marL="0" indent="0" rtl="0">
              <a:buNone/>
              <a:defRPr sz="3200" b="1">
                <a:latin typeface="Roboto" panose="02000000000000000000" pitchFamily="2" charset="0"/>
                <a:ea typeface="Roboto" panose="02000000000000000000" pitchFamily="2" charset="0"/>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noProof="0"/>
              <a:t>Title (font 32)</a:t>
            </a:r>
            <a:endParaRPr lang="es-MX" noProof="0" dirty="0"/>
          </a:p>
        </p:txBody>
      </p:sp>
      <p:sp>
        <p:nvSpPr>
          <p:cNvPr id="14" name="Espaço Reservado para Texto 2">
            <a:extLst>
              <a:ext uri="{FF2B5EF4-FFF2-40B4-BE49-F238E27FC236}">
                <a16:creationId xmlns:a16="http://schemas.microsoft.com/office/drawing/2014/main" id="{D5276FDB-D5EA-7940-B1F0-A155F73136E9}"/>
              </a:ext>
            </a:extLst>
          </p:cNvPr>
          <p:cNvSpPr>
            <a:spLocks noGrp="1"/>
          </p:cNvSpPr>
          <p:nvPr>
            <p:ph type="body" idx="32" hasCustomPrompt="1"/>
          </p:nvPr>
        </p:nvSpPr>
        <p:spPr>
          <a:xfrm>
            <a:off x="654112" y="1082687"/>
            <a:ext cx="10128187" cy="877867"/>
          </a:xfrm>
        </p:spPr>
        <p:txBody>
          <a:bodyPr anchor="t" anchorCtr="0">
            <a:noAutofit/>
          </a:bodyPr>
          <a:lstStyle>
            <a:lvl1pPr marL="0" indent="0" rtl="0">
              <a:lnSpc>
                <a:spcPct val="100000"/>
              </a:lnSpc>
              <a:buNone/>
              <a:defRPr sz="2400" b="0">
                <a:latin typeface="Roboto" panose="02000000000000000000" pitchFamily="2" charset="0"/>
                <a:ea typeface="Roboto" panose="02000000000000000000" pitchFamily="2" charset="0"/>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noProof="0"/>
              <a:t>Subtitle or short description (optional), up to 2 lines (font 24)</a:t>
            </a:r>
            <a:endParaRPr lang="es-MX" noProof="0" dirty="0"/>
          </a:p>
        </p:txBody>
      </p:sp>
      <p:sp>
        <p:nvSpPr>
          <p:cNvPr id="9" name="Espaço Reservado para Texto 2">
            <a:extLst>
              <a:ext uri="{FF2B5EF4-FFF2-40B4-BE49-F238E27FC236}">
                <a16:creationId xmlns:a16="http://schemas.microsoft.com/office/drawing/2014/main" id="{C5412F41-A2FD-2E4C-B207-9FEE78669726}"/>
              </a:ext>
            </a:extLst>
          </p:cNvPr>
          <p:cNvSpPr>
            <a:spLocks noGrp="1"/>
          </p:cNvSpPr>
          <p:nvPr>
            <p:ph type="body" idx="36" hasCustomPrompt="1"/>
          </p:nvPr>
        </p:nvSpPr>
        <p:spPr>
          <a:xfrm>
            <a:off x="654113" y="5411615"/>
            <a:ext cx="10395910" cy="531801"/>
          </a:xfrm>
        </p:spPr>
        <p:txBody>
          <a:bodyPr anchor="ctr" anchorCtr="0">
            <a:noAutofit/>
          </a:bodyPr>
          <a:lstStyle>
            <a:lvl1pPr marL="0" indent="0" algn="ctr" rtl="0">
              <a:lnSpc>
                <a:spcPct val="100000"/>
              </a:lnSpc>
              <a:buNone/>
              <a:defRPr lang="pt-BR" sz="2400" smtClean="0">
                <a:solidFill>
                  <a:srgbClr val="27B9BE"/>
                </a:solidFill>
                <a:effectLst/>
                <a:latin typeface="Roboto" panose="02000000000000000000" pitchFamily="2" charset="0"/>
                <a:ea typeface="Roboto" panose="02000000000000000000" pitchFamily="2" charset="0"/>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MX" noProof="0">
                <a:solidFill>
                  <a:srgbClr val="27B9BE"/>
                </a:solidFill>
                <a:effectLst/>
                <a:latin typeface="Century Gothic" panose="020B0502020202020204" pitchFamily="34" charset="0"/>
              </a:rPr>
              <a:t>Key phrase, the central idea of your slide (optional) – Font 24</a:t>
            </a:r>
            <a:endParaRPr lang="es-MX" noProof="0" dirty="0">
              <a:solidFill>
                <a:srgbClr val="27B9BE"/>
              </a:solidFill>
              <a:effectLst/>
              <a:latin typeface="Century Gothic" panose="020B0502020202020204" pitchFamily="34" charset="0"/>
            </a:endParaRPr>
          </a:p>
        </p:txBody>
      </p:sp>
    </p:spTree>
    <p:extLst>
      <p:ext uri="{BB962C8B-B14F-4D97-AF65-F5344CB8AC3E}">
        <p14:creationId xmlns:p14="http://schemas.microsoft.com/office/powerpoint/2010/main" val="2823126034"/>
      </p:ext>
    </p:extLst>
  </p:cSld>
  <p:clrMapOvr>
    <a:masterClrMapping/>
  </p:clrMapOvr>
  <p:transition spd="slow">
    <p:push dir="u"/>
  </p:transition>
  <p:extLst>
    <p:ext uri="{DCECCB84-F9BA-43D5-87BE-67443E8EF086}">
      <p15:sldGuideLst xmlns:p15="http://schemas.microsoft.com/office/powerpoint/2012/main">
        <p15:guide id="1" orient="horz" pos="4110">
          <p15:clr>
            <a:srgbClr val="FBAE40"/>
          </p15:clr>
        </p15:guide>
        <p15:guide id="2" pos="46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2 with picture">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31D12101-93DE-82F8-21AF-530E7380074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5" imgH="424" progId="TCLayout.ActiveDocument.1">
                  <p:embed/>
                </p:oleObj>
              </mc:Choice>
              <mc:Fallback>
                <p:oleObj name="Diapositiva de think-cell" r:id="rId3" imgW="425" imgH="424" progId="TCLayout.ActiveDocument.1">
                  <p:embed/>
                  <p:pic>
                    <p:nvPicPr>
                      <p:cNvPr id="6" name="Objeto 5" hidden="1">
                        <a:extLst>
                          <a:ext uri="{FF2B5EF4-FFF2-40B4-BE49-F238E27FC236}">
                            <a16:creationId xmlns:a16="http://schemas.microsoft.com/office/drawing/2014/main" id="{31D12101-93DE-82F8-21AF-530E738007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ítulo 1">
            <a:extLst>
              <a:ext uri="{FF2B5EF4-FFF2-40B4-BE49-F238E27FC236}">
                <a16:creationId xmlns:a16="http://schemas.microsoft.com/office/drawing/2014/main" id="{37EE0A72-4482-C14E-ABB0-F387E71A05F9}"/>
              </a:ext>
            </a:extLst>
          </p:cNvPr>
          <p:cNvSpPr>
            <a:spLocks noGrp="1"/>
          </p:cNvSpPr>
          <p:nvPr>
            <p:ph type="ctrTitle" hasCustomPrompt="1"/>
          </p:nvPr>
        </p:nvSpPr>
        <p:spPr>
          <a:xfrm>
            <a:off x="1828304" y="1131142"/>
            <a:ext cx="4482849" cy="2143006"/>
          </a:xfrm>
        </p:spPr>
        <p:txBody>
          <a:bodyPr vert="horz" anchor="t" anchorCtr="0">
            <a:noAutofit/>
          </a:bodyPr>
          <a:lstStyle>
            <a:lvl1pPr algn="l" rtl="0">
              <a:defRPr sz="4600">
                <a:solidFill>
                  <a:schemeClr val="bg1"/>
                </a:solidFill>
                <a:latin typeface="Roboto" panose="02000000000000000000" pitchFamily="2" charset="0"/>
                <a:ea typeface="Roboto" panose="02000000000000000000" pitchFamily="2" charset="0"/>
                <a:sym typeface="Roboto" panose="02000000000000000000" pitchFamily="2" charset="0"/>
              </a:defRPr>
            </a:lvl1pPr>
          </a:lstStyle>
          <a:p>
            <a:r>
              <a:rPr lang="es-MX" noProof="0"/>
              <a:t>Section</a:t>
            </a:r>
            <a:br>
              <a:rPr lang="es-MX" noProof="0"/>
            </a:br>
            <a:r>
              <a:rPr lang="es-MX" noProof="0"/>
              <a:t>name – up to 3 lines (font 46)</a:t>
            </a:r>
            <a:endParaRPr lang="es-MX" noProof="0" dirty="0"/>
          </a:p>
        </p:txBody>
      </p:sp>
      <p:sp>
        <p:nvSpPr>
          <p:cNvPr id="11" name="Subtítulo 2">
            <a:extLst>
              <a:ext uri="{FF2B5EF4-FFF2-40B4-BE49-F238E27FC236}">
                <a16:creationId xmlns:a16="http://schemas.microsoft.com/office/drawing/2014/main" id="{9D27D318-2B74-B64D-8BBB-F343E58EC46A}"/>
              </a:ext>
            </a:extLst>
          </p:cNvPr>
          <p:cNvSpPr>
            <a:spLocks noGrp="1"/>
          </p:cNvSpPr>
          <p:nvPr>
            <p:ph type="subTitle" idx="1" hasCustomPrompt="1"/>
          </p:nvPr>
        </p:nvSpPr>
        <p:spPr>
          <a:xfrm>
            <a:off x="1828304" y="3887076"/>
            <a:ext cx="3819461" cy="1002424"/>
          </a:xfrm>
        </p:spPr>
        <p:txBody>
          <a:bodyPr>
            <a:noAutofit/>
          </a:bodyPr>
          <a:lstStyle>
            <a:lvl1pPr marL="0" indent="0" algn="l" rtl="0">
              <a:lnSpc>
                <a:spcPct val="100000"/>
              </a:lnSpc>
              <a:buNone/>
              <a:defRPr sz="1600">
                <a:solidFill>
                  <a:schemeClr val="bg1"/>
                </a:solidFill>
                <a:latin typeface="Roboto" panose="02000000000000000000" pitchFamily="2" charset="0"/>
                <a:ea typeface="Roboto" panose="02000000000000000000" pitchFamily="2" charset="0"/>
                <a:sym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noProof="0"/>
              <a:t>Section description – up to 4 lines               (font 16)</a:t>
            </a:r>
            <a:endParaRPr lang="es-MX" noProof="0" dirty="0"/>
          </a:p>
        </p:txBody>
      </p:sp>
      <p:sp>
        <p:nvSpPr>
          <p:cNvPr id="12" name="Espaço Reservado para Texto 2">
            <a:extLst>
              <a:ext uri="{FF2B5EF4-FFF2-40B4-BE49-F238E27FC236}">
                <a16:creationId xmlns:a16="http://schemas.microsoft.com/office/drawing/2014/main" id="{9406F269-2302-D74A-9F35-3BC5F6F43C73}"/>
              </a:ext>
            </a:extLst>
          </p:cNvPr>
          <p:cNvSpPr>
            <a:spLocks noGrp="1"/>
          </p:cNvSpPr>
          <p:nvPr>
            <p:ph type="body" idx="32" hasCustomPrompt="1"/>
          </p:nvPr>
        </p:nvSpPr>
        <p:spPr>
          <a:xfrm>
            <a:off x="449387" y="786062"/>
            <a:ext cx="1344092" cy="1057727"/>
          </a:xfrm>
        </p:spPr>
        <p:txBody>
          <a:bodyPr anchor="t" anchorCtr="0">
            <a:noAutofit/>
          </a:bodyPr>
          <a:lstStyle>
            <a:lvl1pPr marL="0" indent="0" algn="r" rtl="0">
              <a:buNone/>
              <a:defRPr sz="8000" b="0">
                <a:solidFill>
                  <a:srgbClr val="43DEAB"/>
                </a:solidFill>
                <a:latin typeface="Roboto" panose="02000000000000000000" pitchFamily="2" charset="0"/>
                <a:ea typeface="Roboto" panose="02000000000000000000" pitchFamily="2" charset="0"/>
                <a:sym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s-MX" noProof="0"/>
              <a:t>80</a:t>
            </a:r>
            <a:endParaRPr lang="es-MX" noProof="0" dirty="0"/>
          </a:p>
        </p:txBody>
      </p:sp>
      <p:sp>
        <p:nvSpPr>
          <p:cNvPr id="3" name="Date Placeholder 2">
            <a:extLst>
              <a:ext uri="{FF2B5EF4-FFF2-40B4-BE49-F238E27FC236}">
                <a16:creationId xmlns:a16="http://schemas.microsoft.com/office/drawing/2014/main" id="{C890E506-C699-514E-BA06-2C972241C62B}"/>
              </a:ext>
            </a:extLst>
          </p:cNvPr>
          <p:cNvSpPr>
            <a:spLocks noGrp="1"/>
          </p:cNvSpPr>
          <p:nvPr>
            <p:ph type="dt" sz="half" idx="33"/>
          </p:nvPr>
        </p:nvSpPr>
        <p:spPr>
          <a:xfrm>
            <a:off x="654113" y="6356350"/>
            <a:ext cx="2927287" cy="365125"/>
          </a:xfrm>
          <a:prstGeom prst="rect">
            <a:avLst/>
          </a:prstGeom>
        </p:spPr>
        <p:txBody>
          <a:bodyPr/>
          <a:lstStyle>
            <a:lvl1pPr rtl="0">
              <a:defRPr>
                <a:solidFill>
                  <a:schemeClr val="bg1"/>
                </a:solidFill>
                <a:latin typeface="Roboto" panose="02000000000000000000" pitchFamily="2" charset="0"/>
                <a:ea typeface="Roboto" panose="02000000000000000000" pitchFamily="2" charset="0"/>
                <a:sym typeface="Roboto" panose="02000000000000000000" pitchFamily="2" charset="0"/>
              </a:defRPr>
            </a:lvl1pPr>
          </a:lstStyle>
          <a:p>
            <a:fld id="{C62BDB9C-98A7-6947-B035-93B3EDFFAF54}" type="datetime4">
              <a:rPr lang="es-MX" smtClean="0">
                <a:solidFill>
                  <a:srgbClr val="FFFFFF"/>
                </a:solidFill>
              </a:rPr>
              <a:pPr/>
              <a:t>15 de julio de 2023</a:t>
            </a:fld>
            <a:endParaRPr lang="es-MX" dirty="0">
              <a:solidFill>
                <a:srgbClr val="FFFFFF"/>
              </a:solidFill>
            </a:endParaRPr>
          </a:p>
        </p:txBody>
      </p:sp>
      <p:sp>
        <p:nvSpPr>
          <p:cNvPr id="4" name="Footer Placeholder 3">
            <a:extLst>
              <a:ext uri="{FF2B5EF4-FFF2-40B4-BE49-F238E27FC236}">
                <a16:creationId xmlns:a16="http://schemas.microsoft.com/office/drawing/2014/main" id="{C57B37B3-FACA-FD41-AA16-030BD7FC328B}"/>
              </a:ext>
            </a:extLst>
          </p:cNvPr>
          <p:cNvSpPr>
            <a:spLocks noGrp="1"/>
          </p:cNvSpPr>
          <p:nvPr>
            <p:ph type="ftr" sz="quarter" idx="34"/>
          </p:nvPr>
        </p:nvSpPr>
        <p:spPr>
          <a:xfrm>
            <a:off x="4038599" y="6356350"/>
            <a:ext cx="7011423" cy="365125"/>
          </a:xfrm>
          <a:prstGeom prst="rect">
            <a:avLst/>
          </a:prstGeom>
        </p:spPr>
        <p:txBody>
          <a:bodyPr/>
          <a:lstStyle>
            <a:lvl1pPr rtl="0">
              <a:defRPr>
                <a:solidFill>
                  <a:schemeClr val="bg1"/>
                </a:solidFill>
                <a:latin typeface="Roboto" panose="02000000000000000000" pitchFamily="2" charset="0"/>
                <a:ea typeface="Roboto" panose="02000000000000000000" pitchFamily="2" charset="0"/>
                <a:sym typeface="Roboto" panose="02000000000000000000" pitchFamily="2" charset="0"/>
              </a:defRPr>
            </a:lvl1pPr>
          </a:lstStyle>
          <a:p>
            <a:pPr algn="r"/>
            <a:r>
              <a:rPr lang="es-MX">
                <a:solidFill>
                  <a:srgbClr val="FFFFFF"/>
                </a:solidFill>
              </a:rPr>
              <a:t>everis © 2018</a:t>
            </a:r>
            <a:endParaRPr lang="es-MX" dirty="0">
              <a:solidFill>
                <a:srgbClr val="FFFFFF"/>
              </a:solidFill>
            </a:endParaRPr>
          </a:p>
        </p:txBody>
      </p:sp>
      <p:sp>
        <p:nvSpPr>
          <p:cNvPr id="5" name="Slide Number Placeholder 4">
            <a:extLst>
              <a:ext uri="{FF2B5EF4-FFF2-40B4-BE49-F238E27FC236}">
                <a16:creationId xmlns:a16="http://schemas.microsoft.com/office/drawing/2014/main" id="{7DC9642D-8E1C-D24C-BFDB-3C9E36185EEA}"/>
              </a:ext>
            </a:extLst>
          </p:cNvPr>
          <p:cNvSpPr>
            <a:spLocks noGrp="1"/>
          </p:cNvSpPr>
          <p:nvPr>
            <p:ph type="sldNum" sz="quarter" idx="35"/>
          </p:nvPr>
        </p:nvSpPr>
        <p:spPr>
          <a:xfrm>
            <a:off x="11265031" y="6356350"/>
            <a:ext cx="648590" cy="365125"/>
          </a:xfrm>
          <a:prstGeom prst="rect">
            <a:avLst/>
          </a:prstGeom>
        </p:spPr>
        <p:txBody>
          <a:bodyPr/>
          <a:lstStyle>
            <a:lvl1pPr rtl="0">
              <a:defRPr>
                <a:solidFill>
                  <a:schemeClr val="bg1"/>
                </a:solidFill>
                <a:latin typeface="Roboto" panose="02000000000000000000" pitchFamily="2" charset="0"/>
                <a:ea typeface="Roboto" panose="02000000000000000000" pitchFamily="2" charset="0"/>
                <a:sym typeface="Roboto" panose="02000000000000000000" pitchFamily="2" charset="0"/>
              </a:defRPr>
            </a:lvl1pPr>
          </a:lstStyle>
          <a:p>
            <a:fld id="{AD6D3279-9C4E-C94A-B134-5F196FB90914}" type="slidenum">
              <a:rPr lang="es-MX" smtClean="0">
                <a:solidFill>
                  <a:srgbClr val="FFFFFF"/>
                </a:solidFill>
              </a:rPr>
              <a:pPr/>
              <a:t>‹#›</a:t>
            </a:fld>
            <a:endParaRPr lang="es-MX" dirty="0">
              <a:solidFill>
                <a:srgbClr val="FFFFFF"/>
              </a:solidFill>
            </a:endParaRPr>
          </a:p>
        </p:txBody>
      </p:sp>
      <p:pic>
        <p:nvPicPr>
          <p:cNvPr id="14" name="Imagem 13">
            <a:extLst>
              <a:ext uri="{FF2B5EF4-FFF2-40B4-BE49-F238E27FC236}">
                <a16:creationId xmlns:a16="http://schemas.microsoft.com/office/drawing/2014/main" id="{B54BD716-BF27-7044-9DA0-CA6B3738498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0344703" y="5821"/>
            <a:ext cx="1838512" cy="1270000"/>
          </a:xfrm>
          <a:prstGeom prst="rect">
            <a:avLst/>
          </a:prstGeom>
        </p:spPr>
      </p:pic>
    </p:spTree>
    <p:extLst>
      <p:ext uri="{BB962C8B-B14F-4D97-AF65-F5344CB8AC3E}">
        <p14:creationId xmlns:p14="http://schemas.microsoft.com/office/powerpoint/2010/main" val="2862902484"/>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pitulo con header">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71CE7A38-A914-496D-A909-4506FEC917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7" name="Objeto 6" hidden="1">
                        <a:extLst>
                          <a:ext uri="{FF2B5EF4-FFF2-40B4-BE49-F238E27FC236}">
                            <a16:creationId xmlns:a16="http://schemas.microsoft.com/office/drawing/2014/main" id="{71CE7A38-A914-496D-A909-4506FEC91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texto 4">
            <a:extLst>
              <a:ext uri="{FF2B5EF4-FFF2-40B4-BE49-F238E27FC236}">
                <a16:creationId xmlns:a16="http://schemas.microsoft.com/office/drawing/2014/main" id="{FC496BD4-E19E-4606-AF6C-FCA3A21D857B}"/>
              </a:ext>
            </a:extLst>
          </p:cNvPr>
          <p:cNvSpPr>
            <a:spLocks noGrp="1"/>
          </p:cNvSpPr>
          <p:nvPr>
            <p:ph type="body" sz="quarter" idx="20" hasCustomPrompt="1"/>
          </p:nvPr>
        </p:nvSpPr>
        <p:spPr>
          <a:xfrm>
            <a:off x="122046" y="217701"/>
            <a:ext cx="288000" cy="3240000"/>
          </a:xfrm>
          <a:prstGeom prst="rect">
            <a:avLst/>
          </a:prstGeom>
        </p:spPr>
        <p:txBody>
          <a:bodyPr vert="vert270" anchor="ctr"/>
          <a:lstStyle>
            <a:lvl1pPr marL="0" marR="0" indent="0" algn="r" defTabSz="412750" rtl="0" latinLnBrk="0">
              <a:lnSpc>
                <a:spcPct val="110000"/>
              </a:lnSpc>
              <a:spcBef>
                <a:spcPts val="0"/>
              </a:spcBef>
              <a:spcAft>
                <a:spcPts val="0"/>
              </a:spcAft>
              <a:buClrTx/>
              <a:buSzTx/>
              <a:buFontTx/>
              <a:buNone/>
              <a:tabLst/>
              <a:defRPr kumimoji="0" lang="es-ES" sz="1200" b="0" i="0" u="none" strike="noStrike" kern="0" cap="none" spc="0" normalizeH="0" baseline="0" noProof="0" dirty="0">
                <a:ln>
                  <a:noFill/>
                </a:ln>
                <a:solidFill>
                  <a:prstClr val="black"/>
                </a:solidFill>
                <a:effectLst/>
                <a:uLnTx/>
                <a:uFillTx/>
                <a:latin typeface="+mj-lt"/>
                <a:ea typeface="Graphik-SemiboldItalic"/>
                <a:cs typeface="Arial" panose="020B0604020202020204" pitchFamily="34" charset="0"/>
                <a:sym typeface="Graphik Semibold"/>
              </a:defRPr>
            </a:lvl1pPr>
          </a:lstStyle>
          <a:p>
            <a:pPr lvl="0"/>
            <a:r>
              <a:rPr lang="es-ES" noProof="0"/>
              <a:t>CAPITULO</a:t>
            </a:r>
          </a:p>
        </p:txBody>
      </p:sp>
      <p:sp>
        <p:nvSpPr>
          <p:cNvPr id="5" name="1 Título">
            <a:extLst>
              <a:ext uri="{FF2B5EF4-FFF2-40B4-BE49-F238E27FC236}">
                <a16:creationId xmlns:a16="http://schemas.microsoft.com/office/drawing/2014/main" id="{365BE723-C7F5-4828-8A8E-4F4B0D3CA312}"/>
              </a:ext>
            </a:extLst>
          </p:cNvPr>
          <p:cNvSpPr>
            <a:spLocks noGrp="1"/>
          </p:cNvSpPr>
          <p:nvPr>
            <p:ph type="title" hasCustomPrompt="1"/>
          </p:nvPr>
        </p:nvSpPr>
        <p:spPr>
          <a:xfrm>
            <a:off x="511452" y="611580"/>
            <a:ext cx="11520000" cy="576000"/>
          </a:xfrm>
          <a:prstGeom prst="rect">
            <a:avLst/>
          </a:prstGeom>
        </p:spPr>
        <p:txBody>
          <a:bodyPr vert="horz"/>
          <a:lstStyle>
            <a:lvl1pPr marL="0" marR="0" indent="0" algn="l" defTabSz="412750" rtl="0" latinLnBrk="0">
              <a:lnSpc>
                <a:spcPct val="110000"/>
              </a:lnSpc>
              <a:spcBef>
                <a:spcPts val="0"/>
              </a:spcBef>
              <a:spcAft>
                <a:spcPts val="0"/>
              </a:spcAft>
              <a:buClrTx/>
              <a:buSzTx/>
              <a:buFontTx/>
              <a:buNone/>
              <a:tabLst/>
              <a:defRPr kumimoji="0" lang="es-ES" sz="1400" b="0" i="0" u="none" strike="noStrike" kern="0" cap="none" spc="0" normalizeH="0" baseline="0" dirty="0">
                <a:ln>
                  <a:noFill/>
                </a:ln>
                <a:solidFill>
                  <a:prstClr val="black"/>
                </a:solidFill>
                <a:effectLst/>
                <a:uLnTx/>
                <a:uFillTx/>
                <a:latin typeface="+mj-lt"/>
                <a:ea typeface="Graphik-SemiboldItalic"/>
                <a:cs typeface="Arial" panose="020B0604020202020204" pitchFamily="34" charset="0"/>
                <a:sym typeface="Graphik Semibold"/>
              </a:defRPr>
            </a:lvl1pPr>
          </a:lstStyle>
          <a:p>
            <a:r>
              <a:rPr lang="es-ES" err="1"/>
              <a:t>Header</a:t>
            </a:r>
            <a:endParaRPr lang="es-ES"/>
          </a:p>
        </p:txBody>
      </p:sp>
      <p:sp>
        <p:nvSpPr>
          <p:cNvPr id="6" name="Marcador de texto 4">
            <a:extLst>
              <a:ext uri="{FF2B5EF4-FFF2-40B4-BE49-F238E27FC236}">
                <a16:creationId xmlns:a16="http://schemas.microsoft.com/office/drawing/2014/main" id="{2B8A18F4-A796-4B64-B991-B0130496AFD5}"/>
              </a:ext>
            </a:extLst>
          </p:cNvPr>
          <p:cNvSpPr>
            <a:spLocks noGrp="1"/>
          </p:cNvSpPr>
          <p:nvPr>
            <p:ph type="body" sz="quarter" idx="21" hasCustomPrompt="1"/>
          </p:nvPr>
        </p:nvSpPr>
        <p:spPr>
          <a:xfrm>
            <a:off x="511452" y="217701"/>
            <a:ext cx="11520000" cy="393879"/>
          </a:xfrm>
          <a:prstGeom prst="rect">
            <a:avLst/>
          </a:prstGeom>
        </p:spPr>
        <p:txBody>
          <a:bodyPr anchor="ctr"/>
          <a:lstStyle>
            <a:lvl1pPr marL="0" marR="0" indent="0" algn="l" defTabSz="412750" rtl="0" latinLnBrk="0">
              <a:lnSpc>
                <a:spcPct val="110000"/>
              </a:lnSpc>
              <a:spcBef>
                <a:spcPts val="0"/>
              </a:spcBef>
              <a:spcAft>
                <a:spcPts val="0"/>
              </a:spcAft>
              <a:buClrTx/>
              <a:buSzTx/>
              <a:buFontTx/>
              <a:buNone/>
              <a:tabLst/>
              <a:defRPr kumimoji="0" lang="es-ES" sz="2000" b="1" i="0" u="none" strike="noStrike" kern="0" cap="none" spc="0" normalizeH="0" baseline="0" noProof="0" dirty="0">
                <a:ln>
                  <a:noFill/>
                </a:ln>
                <a:solidFill>
                  <a:prstClr val="black"/>
                </a:solidFill>
                <a:effectLst/>
                <a:uLnTx/>
                <a:uFillTx/>
                <a:latin typeface="+mj-lt"/>
                <a:ea typeface="Graphik-SemiboldItalic"/>
                <a:cs typeface="Arial" panose="020B0604020202020204" pitchFamily="34" charset="0"/>
                <a:sym typeface="Graphik Semibold"/>
              </a:defRPr>
            </a:lvl1pPr>
          </a:lstStyle>
          <a:p>
            <a:pPr lvl="0"/>
            <a:r>
              <a:rPr lang="es-ES" noProof="0"/>
              <a:t>Título</a:t>
            </a:r>
          </a:p>
        </p:txBody>
      </p:sp>
      <p:cxnSp>
        <p:nvCxnSpPr>
          <p:cNvPr id="11" name="直線コネクタ 2"/>
          <p:cNvCxnSpPr/>
          <p:nvPr userDrawn="1"/>
        </p:nvCxnSpPr>
        <p:spPr>
          <a:xfrm>
            <a:off x="237864" y="6500799"/>
            <a:ext cx="11716272" cy="0"/>
          </a:xfrm>
          <a:prstGeom prst="line">
            <a:avLst/>
          </a:prstGeom>
          <a:noFill/>
          <a:ln w="3175" cap="flat" cmpd="sng" algn="ctr">
            <a:solidFill>
              <a:srgbClr val="000000"/>
            </a:solidFill>
            <a:prstDash val="solid"/>
          </a:ln>
          <a:effectLst/>
        </p:spPr>
      </p:cxnSp>
      <p:sp>
        <p:nvSpPr>
          <p:cNvPr id="3" name="Marcador de contenido 2"/>
          <p:cNvSpPr>
            <a:spLocks noGrp="1"/>
          </p:cNvSpPr>
          <p:nvPr>
            <p:ph sz="quarter" idx="22" hasCustomPrompt="1"/>
          </p:nvPr>
        </p:nvSpPr>
        <p:spPr>
          <a:xfrm>
            <a:off x="511452" y="1356753"/>
            <a:ext cx="11520000" cy="4944294"/>
          </a:xfrm>
          <a:prstGeom prst="rect">
            <a:avLst/>
          </a:prstGeom>
        </p:spPr>
        <p:txBody>
          <a:bodyPr vert="horz"/>
          <a:lstStyle>
            <a:lvl1pPr>
              <a:defRPr kumimoji="0" lang="es-ES" sz="1400" kern="0" spc="0" normalizeH="0" dirty="0">
                <a:ln>
                  <a:noFill/>
                </a:ln>
                <a:solidFill>
                  <a:prstClr val="black"/>
                </a:solidFill>
                <a:effectLst/>
                <a:uLnTx/>
                <a:latin typeface="+mj-lt"/>
                <a:ea typeface="Graphik-SemiboldItalic"/>
                <a:cs typeface="Arial" panose="020B0604020202020204" pitchFamily="34" charset="0"/>
                <a:sym typeface="Graphik Semibold"/>
              </a:defRPr>
            </a:lvl1pPr>
          </a:lstStyle>
          <a:p>
            <a:pPr lvl="0" rtl="0">
              <a:lnSpc>
                <a:spcPct val="110000"/>
              </a:lnSpc>
              <a:spcBef>
                <a:spcPts val="0"/>
              </a:spcBef>
            </a:pPr>
            <a:r>
              <a:rPr lang="es-ES"/>
              <a:t>Content</a:t>
            </a:r>
          </a:p>
        </p:txBody>
      </p:sp>
      <p:cxnSp>
        <p:nvCxnSpPr>
          <p:cNvPr id="13" name="Conector recto 12"/>
          <p:cNvCxnSpPr/>
          <p:nvPr userDrawn="1"/>
        </p:nvCxnSpPr>
        <p:spPr>
          <a:xfrm>
            <a:off x="511452" y="1263535"/>
            <a:ext cx="1111805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94006974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apitulo con header">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71CE7A38-A914-496D-A909-4506FEC917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7" name="Objeto 6" hidden="1">
                        <a:extLst>
                          <a:ext uri="{FF2B5EF4-FFF2-40B4-BE49-F238E27FC236}">
                            <a16:creationId xmlns:a16="http://schemas.microsoft.com/office/drawing/2014/main" id="{71CE7A38-A914-496D-A909-4506FEC91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Marcador de texto 4">
            <a:extLst>
              <a:ext uri="{FF2B5EF4-FFF2-40B4-BE49-F238E27FC236}">
                <a16:creationId xmlns:a16="http://schemas.microsoft.com/office/drawing/2014/main" id="{FC496BD4-E19E-4606-AF6C-FCA3A21D857B}"/>
              </a:ext>
            </a:extLst>
          </p:cNvPr>
          <p:cNvSpPr>
            <a:spLocks noGrp="1"/>
          </p:cNvSpPr>
          <p:nvPr>
            <p:ph type="body" sz="quarter" idx="20" hasCustomPrompt="1"/>
          </p:nvPr>
        </p:nvSpPr>
        <p:spPr>
          <a:xfrm>
            <a:off x="122046" y="217701"/>
            <a:ext cx="288000" cy="3240000"/>
          </a:xfrm>
          <a:prstGeom prst="rect">
            <a:avLst/>
          </a:prstGeom>
        </p:spPr>
        <p:txBody>
          <a:bodyPr vert="vert270" anchor="ctr"/>
          <a:lstStyle>
            <a:lvl1pPr marL="0" marR="0" indent="0" algn="r" defTabSz="412750" rtl="0" latinLnBrk="0">
              <a:lnSpc>
                <a:spcPct val="110000"/>
              </a:lnSpc>
              <a:spcBef>
                <a:spcPts val="0"/>
              </a:spcBef>
              <a:spcAft>
                <a:spcPts val="0"/>
              </a:spcAft>
              <a:buClrTx/>
              <a:buSzTx/>
              <a:buFontTx/>
              <a:buNone/>
              <a:tabLst/>
              <a:defRPr kumimoji="0" lang="es-ES" sz="1200" b="0" i="0" u="none" strike="noStrike" kern="0" cap="none" spc="0" normalizeH="0" baseline="0" noProof="0" dirty="0">
                <a:ln>
                  <a:noFill/>
                </a:ln>
                <a:solidFill>
                  <a:prstClr val="black"/>
                </a:solidFill>
                <a:effectLst/>
                <a:uLnTx/>
                <a:uFillTx/>
                <a:latin typeface="+mj-lt"/>
                <a:ea typeface="Graphik-SemiboldItalic"/>
                <a:cs typeface="Arial" panose="020B0604020202020204" pitchFamily="34" charset="0"/>
                <a:sym typeface="Graphik Semibold"/>
              </a:defRPr>
            </a:lvl1pPr>
          </a:lstStyle>
          <a:p>
            <a:pPr lvl="0"/>
            <a:r>
              <a:rPr lang="es-ES" noProof="0"/>
              <a:t>CAPITULO</a:t>
            </a:r>
          </a:p>
        </p:txBody>
      </p:sp>
      <p:sp>
        <p:nvSpPr>
          <p:cNvPr id="5" name="1 Título">
            <a:extLst>
              <a:ext uri="{FF2B5EF4-FFF2-40B4-BE49-F238E27FC236}">
                <a16:creationId xmlns:a16="http://schemas.microsoft.com/office/drawing/2014/main" id="{365BE723-C7F5-4828-8A8E-4F4B0D3CA312}"/>
              </a:ext>
            </a:extLst>
          </p:cNvPr>
          <p:cNvSpPr>
            <a:spLocks noGrp="1"/>
          </p:cNvSpPr>
          <p:nvPr>
            <p:ph type="title" hasCustomPrompt="1"/>
          </p:nvPr>
        </p:nvSpPr>
        <p:spPr>
          <a:xfrm>
            <a:off x="511452" y="611580"/>
            <a:ext cx="11520000" cy="576000"/>
          </a:xfrm>
          <a:prstGeom prst="rect">
            <a:avLst/>
          </a:prstGeom>
        </p:spPr>
        <p:txBody>
          <a:bodyPr vert="horz"/>
          <a:lstStyle>
            <a:lvl1pPr marL="0" marR="0" indent="0" algn="l" defTabSz="412750" rtl="0" latinLnBrk="0">
              <a:lnSpc>
                <a:spcPct val="110000"/>
              </a:lnSpc>
              <a:spcBef>
                <a:spcPts val="0"/>
              </a:spcBef>
              <a:spcAft>
                <a:spcPts val="0"/>
              </a:spcAft>
              <a:buClrTx/>
              <a:buSzTx/>
              <a:buFontTx/>
              <a:buNone/>
              <a:tabLst/>
              <a:defRPr kumimoji="0" lang="es-ES" sz="1400" b="0" i="0" u="none" strike="noStrike" kern="0" cap="none" spc="0" normalizeH="0" baseline="0" dirty="0">
                <a:ln>
                  <a:noFill/>
                </a:ln>
                <a:solidFill>
                  <a:prstClr val="black"/>
                </a:solidFill>
                <a:effectLst/>
                <a:uLnTx/>
                <a:uFillTx/>
                <a:latin typeface="+mj-lt"/>
                <a:ea typeface="Graphik-SemiboldItalic"/>
                <a:cs typeface="Arial" panose="020B0604020202020204" pitchFamily="34" charset="0"/>
                <a:sym typeface="Graphik Semibold"/>
              </a:defRPr>
            </a:lvl1pPr>
          </a:lstStyle>
          <a:p>
            <a:r>
              <a:rPr lang="es-ES" err="1"/>
              <a:t>Header</a:t>
            </a:r>
            <a:endParaRPr lang="es-ES"/>
          </a:p>
        </p:txBody>
      </p:sp>
      <p:sp>
        <p:nvSpPr>
          <p:cNvPr id="6" name="Marcador de texto 4">
            <a:extLst>
              <a:ext uri="{FF2B5EF4-FFF2-40B4-BE49-F238E27FC236}">
                <a16:creationId xmlns:a16="http://schemas.microsoft.com/office/drawing/2014/main" id="{2B8A18F4-A796-4B64-B991-B0130496AFD5}"/>
              </a:ext>
            </a:extLst>
          </p:cNvPr>
          <p:cNvSpPr>
            <a:spLocks noGrp="1"/>
          </p:cNvSpPr>
          <p:nvPr>
            <p:ph type="body" sz="quarter" idx="21" hasCustomPrompt="1"/>
          </p:nvPr>
        </p:nvSpPr>
        <p:spPr>
          <a:xfrm>
            <a:off x="511452" y="217701"/>
            <a:ext cx="11520000" cy="393879"/>
          </a:xfrm>
          <a:prstGeom prst="rect">
            <a:avLst/>
          </a:prstGeom>
        </p:spPr>
        <p:txBody>
          <a:bodyPr anchor="ctr"/>
          <a:lstStyle>
            <a:lvl1pPr marL="0" marR="0" indent="0" algn="l" defTabSz="412750" rtl="0" latinLnBrk="0">
              <a:lnSpc>
                <a:spcPct val="110000"/>
              </a:lnSpc>
              <a:spcBef>
                <a:spcPts val="0"/>
              </a:spcBef>
              <a:spcAft>
                <a:spcPts val="0"/>
              </a:spcAft>
              <a:buClrTx/>
              <a:buSzTx/>
              <a:buFontTx/>
              <a:buNone/>
              <a:tabLst/>
              <a:defRPr kumimoji="0" lang="es-ES" sz="2000" b="1" i="0" u="none" strike="noStrike" kern="0" cap="none" spc="0" normalizeH="0" baseline="0" noProof="0" dirty="0">
                <a:ln>
                  <a:noFill/>
                </a:ln>
                <a:solidFill>
                  <a:prstClr val="black"/>
                </a:solidFill>
                <a:effectLst/>
                <a:uLnTx/>
                <a:uFillTx/>
                <a:latin typeface="+mj-lt"/>
                <a:ea typeface="Graphik-SemiboldItalic"/>
                <a:cs typeface="Arial" panose="020B0604020202020204" pitchFamily="34" charset="0"/>
                <a:sym typeface="Graphik Semibold"/>
              </a:defRPr>
            </a:lvl1pPr>
          </a:lstStyle>
          <a:p>
            <a:pPr lvl="0"/>
            <a:r>
              <a:rPr lang="es-ES" noProof="0"/>
              <a:t>Título</a:t>
            </a:r>
          </a:p>
        </p:txBody>
      </p:sp>
      <p:cxnSp>
        <p:nvCxnSpPr>
          <p:cNvPr id="11" name="直線コネクタ 2"/>
          <p:cNvCxnSpPr/>
          <p:nvPr userDrawn="1"/>
        </p:nvCxnSpPr>
        <p:spPr>
          <a:xfrm>
            <a:off x="237864" y="6500799"/>
            <a:ext cx="11716272" cy="0"/>
          </a:xfrm>
          <a:prstGeom prst="line">
            <a:avLst/>
          </a:prstGeom>
          <a:noFill/>
          <a:ln w="3175" cap="flat" cmpd="sng" algn="ctr">
            <a:solidFill>
              <a:srgbClr val="000000"/>
            </a:solidFill>
            <a:prstDash val="solid"/>
          </a:ln>
          <a:effectLst/>
        </p:spPr>
      </p:cxnSp>
      <p:sp>
        <p:nvSpPr>
          <p:cNvPr id="3" name="Marcador de contenido 2"/>
          <p:cNvSpPr>
            <a:spLocks noGrp="1"/>
          </p:cNvSpPr>
          <p:nvPr>
            <p:ph sz="quarter" idx="22" hasCustomPrompt="1"/>
          </p:nvPr>
        </p:nvSpPr>
        <p:spPr>
          <a:xfrm>
            <a:off x="511452" y="1356753"/>
            <a:ext cx="11520000" cy="4944294"/>
          </a:xfrm>
          <a:prstGeom prst="rect">
            <a:avLst/>
          </a:prstGeom>
        </p:spPr>
        <p:txBody>
          <a:bodyPr vert="horz"/>
          <a:lstStyle>
            <a:lvl1pPr>
              <a:defRPr kumimoji="0" lang="es-ES" sz="1400" kern="0" spc="0" normalizeH="0" dirty="0">
                <a:ln>
                  <a:noFill/>
                </a:ln>
                <a:solidFill>
                  <a:prstClr val="black"/>
                </a:solidFill>
                <a:effectLst/>
                <a:uLnTx/>
                <a:latin typeface="+mj-lt"/>
                <a:ea typeface="Graphik-SemiboldItalic"/>
                <a:cs typeface="Arial" panose="020B0604020202020204" pitchFamily="34" charset="0"/>
                <a:sym typeface="Graphik Semibold"/>
              </a:defRPr>
            </a:lvl1pPr>
          </a:lstStyle>
          <a:p>
            <a:pPr lvl="0" rtl="0">
              <a:lnSpc>
                <a:spcPct val="110000"/>
              </a:lnSpc>
              <a:spcBef>
                <a:spcPts val="0"/>
              </a:spcBef>
            </a:pPr>
            <a:r>
              <a:rPr lang="es-ES"/>
              <a:t>Content</a:t>
            </a:r>
          </a:p>
        </p:txBody>
      </p:sp>
      <p:cxnSp>
        <p:nvCxnSpPr>
          <p:cNvPr id="13" name="Conector recto 12"/>
          <p:cNvCxnSpPr/>
          <p:nvPr userDrawn="1"/>
        </p:nvCxnSpPr>
        <p:spPr>
          <a:xfrm>
            <a:off x="511452" y="1263535"/>
            <a:ext cx="11118053" cy="0"/>
          </a:xfrm>
          <a:prstGeom prst="line">
            <a:avLst/>
          </a:prstGeom>
          <a:noFill/>
          <a:ln w="254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76221559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xml"/><Relationship Id="rId7" Type="http://schemas.openxmlformats.org/officeDocument/2006/relationships/image" Target="../media/image3.sv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4.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tags" Target="../tags/tag3.xml"/><Relationship Id="rId4" Type="http://schemas.openxmlformats.org/officeDocument/2006/relationships/theme" Target="../theme/theme2.xml"/><Relationship Id="rId9"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svg"/><Relationship Id="rId2" Type="http://schemas.openxmlformats.org/officeDocument/2006/relationships/theme" Target="../theme/theme3.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svg"/><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CD8FE7AF-61DD-4C24-B989-4FBDBBFB16DA}"/>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2" name="Objeto 1" hidden="1">
                        <a:extLst>
                          <a:ext uri="{FF2B5EF4-FFF2-40B4-BE49-F238E27FC236}">
                            <a16:creationId xmlns:a16="http://schemas.microsoft.com/office/drawing/2014/main" id="{CD8FE7AF-61DD-4C24-B989-4FBDBBFB1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4">
            <a:extLst>
              <a:ext uri="{FF2B5EF4-FFF2-40B4-BE49-F238E27FC236}">
                <a16:creationId xmlns:a16="http://schemas.microsoft.com/office/drawing/2014/main" id="{7A567AFC-70DB-4F5D-B6B4-1DD5ECE49B5B}"/>
              </a:ext>
            </a:extLst>
          </p:cNvPr>
          <p:cNvPicPr>
            <a:picLocks noChangeAspect="1"/>
          </p:cNvPicPr>
          <p:nvPr userDrawn="1"/>
        </p:nvPicPr>
        <p:blipFill>
          <a:blip r:embed="rId6" cstate="screen">
            <a:biLevel thresh="75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984169" y="193867"/>
            <a:ext cx="1014901" cy="164722"/>
          </a:xfrm>
          <a:prstGeom prst="rect">
            <a:avLst/>
          </a:prstGeom>
        </p:spPr>
      </p:pic>
      <p:sp>
        <p:nvSpPr>
          <p:cNvPr id="10" name="Marcador de número de diapositiva 2">
            <a:extLst>
              <a:ext uri="{FF2B5EF4-FFF2-40B4-BE49-F238E27FC236}">
                <a16:creationId xmlns:a16="http://schemas.microsoft.com/office/drawing/2014/main" id="{0DF6FAA7-A8BF-4FE2-AA42-767B2DD964A6}"/>
              </a:ext>
            </a:extLst>
          </p:cNvPr>
          <p:cNvSpPr>
            <a:spLocks noGrp="1"/>
          </p:cNvSpPr>
          <p:nvPr>
            <p:ph type="sldNum" sz="quarter" idx="4"/>
          </p:nvPr>
        </p:nvSpPr>
        <p:spPr>
          <a:xfrm>
            <a:off x="5879404" y="6530434"/>
            <a:ext cx="441213" cy="254172"/>
          </a:xfrm>
          <a:prstGeom prst="rect">
            <a:avLst/>
          </a:prstGeom>
        </p:spPr>
        <p:txBody>
          <a:bodyPr/>
          <a:lstStyle>
            <a:lvl1pPr algn="ctr">
              <a:defRPr sz="1000" u="none">
                <a:latin typeface="+mj-lt"/>
              </a:defRPr>
            </a:lvl1pPr>
          </a:lstStyle>
          <a:p>
            <a:pPr fontAlgn="base">
              <a:spcBef>
                <a:spcPct val="0"/>
              </a:spcBef>
              <a:spcAft>
                <a:spcPct val="0"/>
              </a:spcAft>
            </a:pPr>
            <a:fld id="{86CB4B4D-7CA3-9044-876B-883B54F8677D}" type="slidenum">
              <a:rPr lang="x-none" smtClean="0">
                <a:solidFill>
                  <a:prstClr val="black"/>
                </a:solidFill>
                <a:ea typeface="MS PGothic" pitchFamily="34" charset="-128"/>
              </a:rPr>
              <a:pPr fontAlgn="base">
                <a:spcBef>
                  <a:spcPct val="0"/>
                </a:spcBef>
                <a:spcAft>
                  <a:spcPct val="0"/>
                </a:spcAft>
              </a:pPr>
              <a:t>‹#›</a:t>
            </a:fld>
            <a:endParaRPr lang="x-none">
              <a:solidFill>
                <a:prstClr val="black"/>
              </a:solidFill>
              <a:ea typeface="MS PGothic" pitchFamily="34" charset="-128"/>
            </a:endParaRPr>
          </a:p>
        </p:txBody>
      </p:sp>
      <p:pic>
        <p:nvPicPr>
          <p:cNvPr id="5" name="Imagen 4"/>
          <p:cNvPicPr>
            <a:picLocks noChangeAspect="1"/>
          </p:cNvPicPr>
          <p:nvPr userDrawn="1"/>
        </p:nvPicPr>
        <p:blipFill>
          <a:blip r:embed="rId8">
            <a:biLevel thresh="75000"/>
          </a:blip>
          <a:stretch>
            <a:fillRect/>
          </a:stretch>
        </p:blipFill>
        <p:spPr>
          <a:xfrm>
            <a:off x="9746442" y="113942"/>
            <a:ext cx="1058249" cy="322415"/>
          </a:xfrm>
          <a:prstGeom prst="rect">
            <a:avLst/>
          </a:prstGeom>
        </p:spPr>
      </p:pic>
    </p:spTree>
    <p:extLst>
      <p:ext uri="{BB962C8B-B14F-4D97-AF65-F5344CB8AC3E}">
        <p14:creationId xmlns:p14="http://schemas.microsoft.com/office/powerpoint/2010/main" val="1239288696"/>
      </p:ext>
    </p:extLst>
  </p:cSld>
  <p:clrMap bg1="lt1" tx1="dk1" bg2="lt2" tx2="dk2" accent1="accent1" accent2="accent2" accent3="accent3" accent4="accent4" accent5="accent5" accent6="accent6" hlink="hlink" folHlink="folHlink"/>
  <p:sldLayoutIdLst>
    <p:sldLayoutId id="2147483661" r:id="rId1"/>
  </p:sldLayoutIdLst>
  <p:transition spd="med"/>
  <p:hf hdr="0" ftr="0" dt="0"/>
  <p:txStyles>
    <p:titleStyle>
      <a:lvl1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1pPr>
      <a:lvl2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2pPr>
      <a:lvl3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3pPr>
      <a:lvl4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4pPr>
      <a:lvl5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5pPr>
      <a:lvl6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6pPr>
      <a:lvl7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7pPr>
      <a:lvl8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8pPr>
      <a:lvl9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9pPr>
    </p:titleStyle>
    <p:bodyStyle>
      <a:lvl1pPr marL="0" marR="0" indent="0" algn="l" defTabSz="412750" latinLnBrk="0">
        <a:lnSpc>
          <a:spcPct val="140000"/>
        </a:lnSpc>
        <a:spcBef>
          <a:spcPts val="2950"/>
        </a:spcBef>
        <a:spcAft>
          <a:spcPts val="0"/>
        </a:spcAft>
        <a:buClrTx/>
        <a:buSzTx/>
        <a:buFontTx/>
        <a:buNone/>
        <a:tabLst/>
        <a:defRPr sz="2400" b="0" i="0" u="none" strike="noStrike" cap="none" spc="-48" baseline="0">
          <a:solidFill>
            <a:srgbClr val="191919"/>
          </a:solidFill>
          <a:uFillTx/>
          <a:latin typeface="Graphik Regular"/>
          <a:ea typeface="Graphik Regular"/>
          <a:cs typeface="Graphik Regular"/>
          <a:sym typeface="Graphik"/>
        </a:defRPr>
      </a:lvl1pPr>
      <a:lvl2pPr marL="635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2pPr>
      <a:lvl3pPr marL="952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3pPr>
      <a:lvl4pPr marL="1270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4pPr>
      <a:lvl5pPr marL="1587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5pPr>
      <a:lvl6pPr marL="1905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6pPr>
      <a:lvl7pPr marL="2222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7pPr>
      <a:lvl8pPr marL="2540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8pPr>
      <a:lvl9pPr marL="2857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9pPr>
    </p:bodyStyle>
    <p:otherStyle>
      <a:lvl1pPr marL="0" marR="0" indent="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1pPr>
      <a:lvl2pPr marL="0" marR="0" indent="1143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2pPr>
      <a:lvl3pPr marL="0" marR="0" indent="2286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3pPr>
      <a:lvl4pPr marL="0" marR="0" indent="3429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4pPr>
      <a:lvl5pPr marL="0" marR="0" indent="4572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5pPr>
      <a:lvl6pPr marL="0" marR="0" indent="5715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6pPr>
      <a:lvl7pPr marL="0" marR="0" indent="6858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7pPr>
      <a:lvl8pPr marL="0" marR="0" indent="8001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8pPr>
      <a:lvl9pPr marL="0" marR="0" indent="9144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90CB22D3-B9E5-E13B-ACC5-E551D9671EB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27705" b="49622"/>
          <a:stretch/>
        </p:blipFill>
        <p:spPr>
          <a:xfrm>
            <a:off x="-12060" y="-1631"/>
            <a:ext cx="12204060" cy="1372438"/>
          </a:xfrm>
          <a:prstGeom prst="rect">
            <a:avLst/>
          </a:prstGeom>
        </p:spPr>
      </p:pic>
      <p:graphicFrame>
        <p:nvGraphicFramePr>
          <p:cNvPr id="4" name="Objeto 3"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7" imgW="425" imgH="424" progId="TCLayout.ActiveDocument.1">
                  <p:embed/>
                </p:oleObj>
              </mc:Choice>
              <mc:Fallback>
                <p:oleObj name="Diapositiva de think-cell" r:id="rId7" imgW="425" imgH="424" progId="TCLayout.ActiveDocument.1">
                  <p:embed/>
                  <p:pic>
                    <p:nvPicPr>
                      <p:cNvPr id="4" name="Objeto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Espaço Reservado para Título 1">
            <a:extLst>
              <a:ext uri="{FF2B5EF4-FFF2-40B4-BE49-F238E27FC236}">
                <a16:creationId xmlns:a16="http://schemas.microsoft.com/office/drawing/2014/main" id="{E079AAE5-249D-7C44-8920-98E4F94FEA0E}"/>
              </a:ext>
            </a:extLst>
          </p:cNvPr>
          <p:cNvSpPr>
            <a:spLocks noGrp="1"/>
          </p:cNvSpPr>
          <p:nvPr>
            <p:ph type="title"/>
          </p:nvPr>
        </p:nvSpPr>
        <p:spPr>
          <a:xfrm>
            <a:off x="654113" y="365125"/>
            <a:ext cx="10395909" cy="1325563"/>
          </a:xfrm>
          <a:prstGeom prst="rect">
            <a:avLst/>
          </a:prstGeom>
        </p:spPr>
        <p:txBody>
          <a:bodyPr vert="horz" lIns="91440" tIns="45720" rIns="91440" bIns="45720" rtlCol="0" anchor="ctr">
            <a:normAutofit/>
          </a:bodyPr>
          <a:lstStyle/>
          <a:p>
            <a:r>
              <a:rPr lang="es-MX" noProof="0"/>
              <a:t>Title</a:t>
            </a:r>
            <a:endParaRPr lang="es-MX" noProof="0" dirty="0"/>
          </a:p>
        </p:txBody>
      </p:sp>
      <p:sp>
        <p:nvSpPr>
          <p:cNvPr id="3" name="Espaço Reservado para Texto 2">
            <a:extLst>
              <a:ext uri="{FF2B5EF4-FFF2-40B4-BE49-F238E27FC236}">
                <a16:creationId xmlns:a16="http://schemas.microsoft.com/office/drawing/2014/main" id="{78BAB685-A8E4-874D-9569-04ED3339CDC8}"/>
              </a:ext>
            </a:extLst>
          </p:cNvPr>
          <p:cNvSpPr>
            <a:spLocks noGrp="1"/>
          </p:cNvSpPr>
          <p:nvPr>
            <p:ph type="body" idx="1"/>
          </p:nvPr>
        </p:nvSpPr>
        <p:spPr>
          <a:xfrm>
            <a:off x="654113" y="1825625"/>
            <a:ext cx="10395909" cy="4351338"/>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pPr>
            <a:r>
              <a:rPr lang="es-MX" noProof="0"/>
              <a:t>Content</a:t>
            </a:r>
          </a:p>
          <a:p>
            <a:pPr marL="228600" marR="0" lvl="0" indent="-228600" algn="l" defTabSz="914400" rtl="0" eaLnBrk="1" fontAlgn="auto" latinLnBrk="0" hangingPunct="1">
              <a:lnSpc>
                <a:spcPct val="90000"/>
              </a:lnSpc>
              <a:spcBef>
                <a:spcPts val="1000"/>
              </a:spcBef>
              <a:spcAft>
                <a:spcPts val="0"/>
              </a:spcAft>
              <a:buClrTx/>
              <a:buSzTx/>
              <a:tabLst/>
            </a:pPr>
            <a:r>
              <a:rPr lang="es-MX" noProof="0"/>
              <a:t>Content</a:t>
            </a:r>
          </a:p>
          <a:p>
            <a:pPr marL="685800" marR="0" lvl="1" indent="-228600" algn="l" defTabSz="914400" rtl="0" eaLnBrk="1" fontAlgn="auto" latinLnBrk="0" hangingPunct="1">
              <a:lnSpc>
                <a:spcPct val="90000"/>
              </a:lnSpc>
              <a:spcBef>
                <a:spcPts val="1000"/>
              </a:spcBef>
              <a:spcAft>
                <a:spcPts val="0"/>
              </a:spcAft>
              <a:buClrTx/>
              <a:buSzTx/>
              <a:tabLst/>
            </a:pPr>
            <a:r>
              <a:rPr lang="es-MX" noProof="0"/>
              <a:t>Content</a:t>
            </a:r>
          </a:p>
          <a:p>
            <a:pPr marL="1143000" marR="0" lvl="2" indent="-228600" algn="l" defTabSz="914400" rtl="0" eaLnBrk="1" fontAlgn="auto" latinLnBrk="0" hangingPunct="1">
              <a:lnSpc>
                <a:spcPct val="90000"/>
              </a:lnSpc>
              <a:spcBef>
                <a:spcPts val="1000"/>
              </a:spcBef>
              <a:spcAft>
                <a:spcPts val="0"/>
              </a:spcAft>
              <a:buClrTx/>
              <a:buSzTx/>
              <a:tabLst/>
            </a:pPr>
            <a:r>
              <a:rPr lang="es-MX" noProof="0"/>
              <a:t>Content</a:t>
            </a:r>
          </a:p>
          <a:p>
            <a:pPr marL="1600200" marR="0" lvl="3" indent="-228600" algn="l" defTabSz="914400" rtl="0" eaLnBrk="1" fontAlgn="auto" latinLnBrk="0" hangingPunct="1">
              <a:lnSpc>
                <a:spcPct val="90000"/>
              </a:lnSpc>
              <a:spcBef>
                <a:spcPts val="1000"/>
              </a:spcBef>
              <a:spcAft>
                <a:spcPts val="0"/>
              </a:spcAft>
              <a:buClrTx/>
              <a:buSzTx/>
              <a:tabLst/>
            </a:pPr>
            <a:r>
              <a:rPr lang="es-MX" noProof="0"/>
              <a:t>Content</a:t>
            </a:r>
          </a:p>
          <a:p>
            <a:pPr marL="2057400" marR="0" lvl="4" indent="-228600" algn="l" defTabSz="914400" rtl="0" eaLnBrk="1" fontAlgn="auto" latinLnBrk="0" hangingPunct="1">
              <a:lnSpc>
                <a:spcPct val="90000"/>
              </a:lnSpc>
              <a:spcBef>
                <a:spcPts val="1000"/>
              </a:spcBef>
              <a:spcAft>
                <a:spcPts val="0"/>
              </a:spcAft>
              <a:buClrTx/>
              <a:buSzTx/>
              <a:tabLst/>
            </a:pPr>
            <a:r>
              <a:rPr lang="es-MX" noProof="0"/>
              <a:t>Content</a:t>
            </a:r>
          </a:p>
          <a:p>
            <a:pPr marL="2514600" marR="0" lvl="5" indent="-228600" algn="l" defTabSz="914400" rtl="0" eaLnBrk="1" fontAlgn="auto" latinLnBrk="0" hangingPunct="1">
              <a:lnSpc>
                <a:spcPct val="90000"/>
              </a:lnSpc>
              <a:spcBef>
                <a:spcPts val="1000"/>
              </a:spcBef>
              <a:spcAft>
                <a:spcPts val="0"/>
              </a:spcAft>
              <a:buClrTx/>
              <a:buSzTx/>
              <a:tabLst/>
            </a:pPr>
            <a:r>
              <a:rPr lang="es-MX" noProof="0"/>
              <a:t>Content</a:t>
            </a:r>
            <a:endParaRPr lang="es-MX" noProof="0" dirty="0"/>
          </a:p>
        </p:txBody>
      </p:sp>
      <p:sp>
        <p:nvSpPr>
          <p:cNvPr id="7" name="Rectángulo 6"/>
          <p:cNvSpPr/>
          <p:nvPr userDrawn="1"/>
        </p:nvSpPr>
        <p:spPr>
          <a:xfrm>
            <a:off x="0" y="6631781"/>
            <a:ext cx="12204000" cy="226218"/>
          </a:xfrm>
          <a:prstGeom prst="rect">
            <a:avLst/>
          </a:prstGeom>
          <a:solidFill>
            <a:schemeClr val="bg1">
              <a:lumMod val="85000"/>
            </a:schemeClr>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prstClr val="white"/>
              </a:solidFill>
              <a:latin typeface="Roboto" panose="02000000000000000000" pitchFamily="2" charset="0"/>
              <a:ea typeface="Roboto" panose="02000000000000000000" pitchFamily="2" charset="0"/>
              <a:sym typeface="Roboto" panose="02000000000000000000" pitchFamily="2" charset="0"/>
            </a:endParaRPr>
          </a:p>
        </p:txBody>
      </p:sp>
      <p:sp>
        <p:nvSpPr>
          <p:cNvPr id="8" name="Slide Number Placeholder 4"/>
          <p:cNvSpPr txBox="1">
            <a:spLocks/>
          </p:cNvSpPr>
          <p:nvPr userDrawn="1"/>
        </p:nvSpPr>
        <p:spPr>
          <a:xfrm>
            <a:off x="9458033" y="6631781"/>
            <a:ext cx="2743200" cy="226219"/>
          </a:xfrm>
          <a:prstGeom prst="rect">
            <a:avLst/>
          </a:prstGeom>
        </p:spPr>
        <p:txBody>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20166B0A-3B00-4805-A563-DD79F2D98613}" type="slidenum">
              <a:rPr lang="es-MX" sz="1000" smtClean="0">
                <a:solidFill>
                  <a:prstClr val="black">
                    <a:lumMod val="75000"/>
                    <a:lumOff val="25000"/>
                  </a:prstClr>
                </a:solidFill>
                <a:latin typeface="Roboto" panose="02000000000000000000" pitchFamily="2" charset="0"/>
                <a:ea typeface="Roboto" panose="02000000000000000000" pitchFamily="2" charset="0"/>
                <a:sym typeface="Roboto" panose="02000000000000000000" pitchFamily="2" charset="0"/>
              </a:rPr>
              <a:pPr algn="r">
                <a:defRPr/>
              </a:pPr>
              <a:t>‹#›</a:t>
            </a:fld>
            <a:endParaRPr lang="es-MX" sz="1000" dirty="0">
              <a:solidFill>
                <a:prstClr val="black">
                  <a:lumMod val="75000"/>
                  <a:lumOff val="25000"/>
                </a:prstClr>
              </a:solidFill>
              <a:latin typeface="Roboto" panose="02000000000000000000" pitchFamily="2" charset="0"/>
              <a:ea typeface="Roboto" panose="02000000000000000000" pitchFamily="2" charset="0"/>
              <a:sym typeface="Roboto" panose="02000000000000000000" pitchFamily="2" charset="0"/>
            </a:endParaRPr>
          </a:p>
          <a:p>
            <a:pPr algn="r"/>
            <a:endParaRPr lang="es-MX" sz="1000" dirty="0">
              <a:solidFill>
                <a:prstClr val="black">
                  <a:lumMod val="75000"/>
                  <a:lumOff val="25000"/>
                </a:prstClr>
              </a:solidFill>
              <a:sym typeface="Franklin Gothic Book" panose="020B0503020102020204" pitchFamily="34" charset="0"/>
            </a:endParaRPr>
          </a:p>
        </p:txBody>
      </p:sp>
      <p:pic>
        <p:nvPicPr>
          <p:cNvPr id="10" name="Imagen 9">
            <a:extLst>
              <a:ext uri="{FF2B5EF4-FFF2-40B4-BE49-F238E27FC236}">
                <a16:creationId xmlns:a16="http://schemas.microsoft.com/office/drawing/2014/main" id="{3F7BC545-6E55-F6DE-8270-DB84DA77858B}"/>
              </a:ext>
            </a:extLst>
          </p:cNvPr>
          <p:cNvPicPr>
            <a:picLocks noChangeAspect="1"/>
          </p:cNvPicPr>
          <p:nvPr userDrawn="1"/>
        </p:nvPicPr>
        <p:blipFill>
          <a:blip r:embed="rId9" cstate="print">
            <a:lum bright="70000" contrast="-70000"/>
            <a:extLst>
              <a:ext uri="{28A0092B-C50C-407E-A947-70E740481C1C}">
                <a14:useLocalDpi xmlns:a14="http://schemas.microsoft.com/office/drawing/2010/main"/>
              </a:ext>
            </a:extLst>
          </a:blip>
          <a:stretch>
            <a:fillRect/>
          </a:stretch>
        </p:blipFill>
        <p:spPr>
          <a:xfrm>
            <a:off x="10148604" y="344057"/>
            <a:ext cx="1639984" cy="240223"/>
          </a:xfrm>
          <a:prstGeom prst="rect">
            <a:avLst/>
          </a:prstGeom>
        </p:spPr>
      </p:pic>
      <p:sp>
        <p:nvSpPr>
          <p:cNvPr id="12" name="Slide Number Placeholder 4">
            <a:extLst>
              <a:ext uri="{FF2B5EF4-FFF2-40B4-BE49-F238E27FC236}">
                <a16:creationId xmlns:a16="http://schemas.microsoft.com/office/drawing/2014/main" id="{E9354193-80F2-7FAC-7B42-078D09139CCB}"/>
              </a:ext>
            </a:extLst>
          </p:cNvPr>
          <p:cNvSpPr txBox="1">
            <a:spLocks/>
          </p:cNvSpPr>
          <p:nvPr userDrawn="1"/>
        </p:nvSpPr>
        <p:spPr>
          <a:xfrm>
            <a:off x="8774455" y="6631781"/>
            <a:ext cx="3107183" cy="226219"/>
          </a:xfrm>
          <a:prstGeom prst="rect">
            <a:avLst/>
          </a:prstGeom>
        </p:spPr>
        <p:txBody>
          <a:bodyPr wrap="none"/>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s-MX" sz="1000">
                <a:solidFill>
                  <a:srgbClr val="505050"/>
                </a:solidFill>
                <a:latin typeface="Roboto" panose="02000000000000000000" pitchFamily="2" charset="0"/>
                <a:ea typeface="Roboto" panose="02000000000000000000" pitchFamily="2" charset="0"/>
                <a:sym typeface="Roboto" panose="02000000000000000000" pitchFamily="2" charset="0"/>
              </a:rPr>
              <a:t> NTT DATA © 2022</a:t>
            </a:r>
            <a:r>
              <a:rPr lang="es-MX" sz="1000">
                <a:solidFill>
                  <a:prstClr val="black">
                    <a:lumMod val="75000"/>
                    <a:lumOff val="25000"/>
                  </a:prstClr>
                </a:solidFill>
                <a:latin typeface="Roboto" panose="02000000000000000000" pitchFamily="2" charset="0"/>
                <a:ea typeface="Roboto" panose="02000000000000000000" pitchFamily="2" charset="0"/>
                <a:sym typeface="Roboto" panose="02000000000000000000" pitchFamily="2" charset="0"/>
              </a:rPr>
              <a:t>|</a:t>
            </a:r>
            <a:endParaRPr lang="es-MX" sz="1000" dirty="0">
              <a:solidFill>
                <a:prstClr val="black">
                  <a:lumMod val="75000"/>
                  <a:lumOff val="25000"/>
                </a:prstClr>
              </a:solidFill>
              <a:latin typeface="Roboto" panose="02000000000000000000" pitchFamily="2" charset="0"/>
              <a:ea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109931171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transition spd="slow">
    <p:push dir="u"/>
  </p:transition>
  <p:hf hdr="0"/>
  <p:txStyles>
    <p:titleStyle>
      <a:lvl1pPr algn="l" defTabSz="914400" rtl="0" eaLnBrk="1" latinLnBrk="0" hangingPunct="1">
        <a:lnSpc>
          <a:spcPct val="90000"/>
        </a:lnSpc>
        <a:spcBef>
          <a:spcPct val="0"/>
        </a:spcBef>
        <a:buNone/>
        <a:defRPr lang="en-US" sz="3200" b="1" kern="1200" noProof="0" dirty="0">
          <a:solidFill>
            <a:schemeClr val="tx1"/>
          </a:solidFill>
          <a:latin typeface="Roboto" panose="02000000000000000000" pitchFamily="2" charset="0"/>
          <a:ea typeface="Roboto" panose="02000000000000000000" pitchFamily="2" charset="0"/>
          <a:cs typeface="+mn-cs"/>
          <a:sym typeface="Roboto" panose="02000000000000000000" pitchFamily="2"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lang="en-US" sz="1600" kern="1200" noProof="0" dirty="0" smtClean="0">
          <a:solidFill>
            <a:schemeClr val="tx1"/>
          </a:solidFill>
          <a:latin typeface="Roboto" panose="02000000000000000000" pitchFamily="2" charset="0"/>
          <a:ea typeface="Roboto" panose="02000000000000000000" pitchFamily="2" charset="0"/>
          <a:cs typeface="+mn-cs"/>
          <a:sym typeface="Roboto" panose="02000000000000000000" pitchFamily="2" charset="0"/>
        </a:defRPr>
      </a:lvl1pPr>
      <a:lvl2pPr marL="685800" marR="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en-US" sz="1600" kern="1200" noProof="0" dirty="0" smtClean="0">
          <a:solidFill>
            <a:schemeClr val="tx1"/>
          </a:solidFill>
          <a:latin typeface="Roboto" panose="02000000000000000000" pitchFamily="2" charset="0"/>
          <a:ea typeface="Roboto" panose="02000000000000000000" pitchFamily="2" charset="0"/>
          <a:cs typeface="+mn-cs"/>
          <a:sym typeface="Roboto" panose="02000000000000000000" pitchFamily="2" charset="0"/>
        </a:defRPr>
      </a:lvl2pPr>
      <a:lvl3pPr marL="11430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chemeClr val="tx1"/>
          </a:solidFill>
          <a:latin typeface="Roboto" panose="02000000000000000000" pitchFamily="2" charset="0"/>
          <a:ea typeface="Roboto" panose="02000000000000000000" pitchFamily="2" charset="0"/>
          <a:cs typeface="+mn-cs"/>
          <a:sym typeface="Roboto" panose="02000000000000000000" pitchFamily="2" charset="0"/>
        </a:defRPr>
      </a:lvl3pPr>
      <a:lvl4pPr marL="16002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chemeClr val="tx1"/>
          </a:solidFill>
          <a:latin typeface="Roboto" panose="02000000000000000000" pitchFamily="2" charset="0"/>
          <a:ea typeface="Roboto" panose="02000000000000000000" pitchFamily="2" charset="0"/>
          <a:cs typeface="+mn-cs"/>
          <a:sym typeface="Roboto" panose="02000000000000000000" pitchFamily="2" charset="0"/>
        </a:defRPr>
      </a:lvl4pPr>
      <a:lvl5pPr marL="2057400" indent="-228600" algn="l" defTabSz="914400" rtl="0" eaLnBrk="1" latinLnBrk="0" hangingPunct="1">
        <a:lnSpc>
          <a:spcPct val="100000"/>
        </a:lnSpc>
        <a:spcBef>
          <a:spcPts val="500"/>
        </a:spcBef>
        <a:buFont typeface="Arial" panose="020B0604020202020204" pitchFamily="34" charset="0"/>
        <a:buChar char="•"/>
        <a:defRPr lang="en-US" sz="1600" kern="1200" noProof="0" dirty="0" smtClean="0">
          <a:solidFill>
            <a:schemeClr val="tx1"/>
          </a:solidFill>
          <a:latin typeface="Roboto" panose="02000000000000000000" pitchFamily="2" charset="0"/>
          <a:ea typeface="Roboto" panose="02000000000000000000" pitchFamily="2" charset="0"/>
          <a:cs typeface="+mn-cs"/>
          <a:sym typeface="Roboto" panose="02000000000000000000" pitchFamily="2" charset="0"/>
        </a:defRPr>
      </a:lvl5pPr>
      <a:lvl6pPr marL="2514600" indent="-228600" algn="l" defTabSz="914400" rtl="0" eaLnBrk="1" latinLnBrk="0" hangingPunct="1">
        <a:lnSpc>
          <a:spcPct val="100000"/>
        </a:lnSpc>
        <a:spcBef>
          <a:spcPts val="500"/>
        </a:spcBef>
        <a:buFont typeface="Arial" panose="020B0604020202020204" pitchFamily="34" charset="0"/>
        <a:buChar char="•"/>
        <a:defRPr lang="en-US" sz="1600" kern="1200" noProof="0" dirty="0">
          <a:solidFill>
            <a:schemeClr val="tx1"/>
          </a:solidFill>
          <a:latin typeface="Roboto" panose="02000000000000000000" pitchFamily="2" charset="0"/>
          <a:ea typeface="Roboto" panose="02000000000000000000" pitchFamily="2" charset="0"/>
          <a:cs typeface="+mn-cs"/>
          <a:sym typeface="Roboto" panose="02000000000000000000" pitchFamily="2"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CD8FE7AF-61DD-4C24-B989-4FBDBBFB16DA}"/>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2" name="Objeto 1" hidden="1">
                        <a:extLst>
                          <a:ext uri="{FF2B5EF4-FFF2-40B4-BE49-F238E27FC236}">
                            <a16:creationId xmlns:a16="http://schemas.microsoft.com/office/drawing/2014/main" id="{CD8FE7AF-61DD-4C24-B989-4FBDBBFB1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4">
            <a:extLst>
              <a:ext uri="{FF2B5EF4-FFF2-40B4-BE49-F238E27FC236}">
                <a16:creationId xmlns:a16="http://schemas.microsoft.com/office/drawing/2014/main" id="{7A567AFC-70DB-4F5D-B6B4-1DD5ECE49B5B}"/>
              </a:ext>
            </a:extLst>
          </p:cNvPr>
          <p:cNvPicPr>
            <a:picLocks noChangeAspect="1"/>
          </p:cNvPicPr>
          <p:nvPr userDrawn="1"/>
        </p:nvPicPr>
        <p:blipFill>
          <a:blip r:embed="rId6" cstate="screen">
            <a:biLevel thresh="75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984169" y="193867"/>
            <a:ext cx="1014901" cy="164722"/>
          </a:xfrm>
          <a:prstGeom prst="rect">
            <a:avLst/>
          </a:prstGeom>
        </p:spPr>
      </p:pic>
      <p:sp>
        <p:nvSpPr>
          <p:cNvPr id="10" name="Marcador de número de diapositiva 2">
            <a:extLst>
              <a:ext uri="{FF2B5EF4-FFF2-40B4-BE49-F238E27FC236}">
                <a16:creationId xmlns:a16="http://schemas.microsoft.com/office/drawing/2014/main" id="{0DF6FAA7-A8BF-4FE2-AA42-767B2DD964A6}"/>
              </a:ext>
            </a:extLst>
          </p:cNvPr>
          <p:cNvSpPr>
            <a:spLocks noGrp="1"/>
          </p:cNvSpPr>
          <p:nvPr>
            <p:ph type="sldNum" sz="quarter" idx="4"/>
          </p:nvPr>
        </p:nvSpPr>
        <p:spPr>
          <a:xfrm>
            <a:off x="5879404" y="6530434"/>
            <a:ext cx="441213" cy="254172"/>
          </a:xfrm>
          <a:prstGeom prst="rect">
            <a:avLst/>
          </a:prstGeom>
        </p:spPr>
        <p:txBody>
          <a:bodyPr/>
          <a:lstStyle>
            <a:lvl1pPr algn="ctr">
              <a:defRPr sz="1000" u="none">
                <a:latin typeface="+mj-lt"/>
              </a:defRPr>
            </a:lvl1pPr>
          </a:lstStyle>
          <a:p>
            <a:pPr fontAlgn="base">
              <a:spcBef>
                <a:spcPct val="0"/>
              </a:spcBef>
              <a:spcAft>
                <a:spcPct val="0"/>
              </a:spcAft>
            </a:pPr>
            <a:fld id="{86CB4B4D-7CA3-9044-876B-883B54F8677D}" type="slidenum">
              <a:rPr lang="x-none" smtClean="0">
                <a:solidFill>
                  <a:prstClr val="black"/>
                </a:solidFill>
                <a:ea typeface="MS PGothic" pitchFamily="34" charset="-128"/>
              </a:rPr>
              <a:pPr fontAlgn="base">
                <a:spcBef>
                  <a:spcPct val="0"/>
                </a:spcBef>
                <a:spcAft>
                  <a:spcPct val="0"/>
                </a:spcAft>
              </a:pPr>
              <a:t>‹#›</a:t>
            </a:fld>
            <a:endParaRPr lang="x-none">
              <a:solidFill>
                <a:prstClr val="black"/>
              </a:solidFill>
              <a:ea typeface="MS PGothic" pitchFamily="34" charset="-128"/>
            </a:endParaRPr>
          </a:p>
        </p:txBody>
      </p:sp>
      <p:pic>
        <p:nvPicPr>
          <p:cNvPr id="5" name="Imagen 4"/>
          <p:cNvPicPr>
            <a:picLocks noChangeAspect="1"/>
          </p:cNvPicPr>
          <p:nvPr userDrawn="1"/>
        </p:nvPicPr>
        <p:blipFill>
          <a:blip r:embed="rId8">
            <a:biLevel thresh="75000"/>
          </a:blip>
          <a:stretch>
            <a:fillRect/>
          </a:stretch>
        </p:blipFill>
        <p:spPr>
          <a:xfrm>
            <a:off x="9746442" y="113942"/>
            <a:ext cx="1058249" cy="322415"/>
          </a:xfrm>
          <a:prstGeom prst="rect">
            <a:avLst/>
          </a:prstGeom>
        </p:spPr>
      </p:pic>
    </p:spTree>
    <p:extLst>
      <p:ext uri="{BB962C8B-B14F-4D97-AF65-F5344CB8AC3E}">
        <p14:creationId xmlns:p14="http://schemas.microsoft.com/office/powerpoint/2010/main" val="636669613"/>
      </p:ext>
    </p:extLst>
  </p:cSld>
  <p:clrMap bg1="lt1" tx1="dk1" bg2="lt2" tx2="dk2" accent1="accent1" accent2="accent2" accent3="accent3" accent4="accent4" accent5="accent5" accent6="accent6" hlink="hlink" folHlink="folHlink"/>
  <p:sldLayoutIdLst>
    <p:sldLayoutId id="2147483667" r:id="rId1"/>
  </p:sldLayoutIdLst>
  <p:transition spd="med"/>
  <p:hf hdr="0" ftr="0" dt="0"/>
  <p:txStyles>
    <p:titleStyle>
      <a:lvl1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1pPr>
      <a:lvl2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2pPr>
      <a:lvl3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3pPr>
      <a:lvl4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4pPr>
      <a:lvl5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5pPr>
      <a:lvl6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6pPr>
      <a:lvl7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7pPr>
      <a:lvl8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8pPr>
      <a:lvl9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9pPr>
    </p:titleStyle>
    <p:bodyStyle>
      <a:lvl1pPr marL="0" marR="0" indent="0" algn="l" defTabSz="412750" latinLnBrk="0">
        <a:lnSpc>
          <a:spcPct val="140000"/>
        </a:lnSpc>
        <a:spcBef>
          <a:spcPts val="2950"/>
        </a:spcBef>
        <a:spcAft>
          <a:spcPts val="0"/>
        </a:spcAft>
        <a:buClrTx/>
        <a:buSzTx/>
        <a:buFontTx/>
        <a:buNone/>
        <a:tabLst/>
        <a:defRPr sz="2400" b="0" i="0" u="none" strike="noStrike" cap="none" spc="-48" baseline="0">
          <a:solidFill>
            <a:srgbClr val="191919"/>
          </a:solidFill>
          <a:uFillTx/>
          <a:latin typeface="Graphik Regular"/>
          <a:ea typeface="Graphik Regular"/>
          <a:cs typeface="Graphik Regular"/>
          <a:sym typeface="Graphik"/>
        </a:defRPr>
      </a:lvl1pPr>
      <a:lvl2pPr marL="635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2pPr>
      <a:lvl3pPr marL="952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3pPr>
      <a:lvl4pPr marL="1270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4pPr>
      <a:lvl5pPr marL="1587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5pPr>
      <a:lvl6pPr marL="1905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6pPr>
      <a:lvl7pPr marL="2222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7pPr>
      <a:lvl8pPr marL="2540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8pPr>
      <a:lvl9pPr marL="2857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9pPr>
    </p:bodyStyle>
    <p:otherStyle>
      <a:lvl1pPr marL="0" marR="0" indent="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1pPr>
      <a:lvl2pPr marL="0" marR="0" indent="1143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2pPr>
      <a:lvl3pPr marL="0" marR="0" indent="2286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3pPr>
      <a:lvl4pPr marL="0" marR="0" indent="3429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4pPr>
      <a:lvl5pPr marL="0" marR="0" indent="4572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5pPr>
      <a:lvl6pPr marL="0" marR="0" indent="5715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6pPr>
      <a:lvl7pPr marL="0" marR="0" indent="6858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7pPr>
      <a:lvl8pPr marL="0" marR="0" indent="8001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8pPr>
      <a:lvl9pPr marL="0" marR="0" indent="9144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CD8FE7AF-61DD-4C24-B989-4FBDBBFB16DA}"/>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2" name="Objeto 1" hidden="1">
                        <a:extLst>
                          <a:ext uri="{FF2B5EF4-FFF2-40B4-BE49-F238E27FC236}">
                            <a16:creationId xmlns:a16="http://schemas.microsoft.com/office/drawing/2014/main" id="{CD8FE7AF-61DD-4C24-B989-4FBDBBFB16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4">
            <a:extLst>
              <a:ext uri="{FF2B5EF4-FFF2-40B4-BE49-F238E27FC236}">
                <a16:creationId xmlns:a16="http://schemas.microsoft.com/office/drawing/2014/main" id="{7A567AFC-70DB-4F5D-B6B4-1DD5ECE49B5B}"/>
              </a:ext>
            </a:extLst>
          </p:cNvPr>
          <p:cNvPicPr>
            <a:picLocks noChangeAspect="1"/>
          </p:cNvPicPr>
          <p:nvPr userDrawn="1"/>
        </p:nvPicPr>
        <p:blipFill>
          <a:blip r:embed="rId6" cstate="screen">
            <a:biLevel thresh="75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984169" y="193867"/>
            <a:ext cx="1014901" cy="164722"/>
          </a:xfrm>
          <a:prstGeom prst="rect">
            <a:avLst/>
          </a:prstGeom>
        </p:spPr>
      </p:pic>
      <p:sp>
        <p:nvSpPr>
          <p:cNvPr id="10" name="Marcador de número de diapositiva 2">
            <a:extLst>
              <a:ext uri="{FF2B5EF4-FFF2-40B4-BE49-F238E27FC236}">
                <a16:creationId xmlns:a16="http://schemas.microsoft.com/office/drawing/2014/main" id="{0DF6FAA7-A8BF-4FE2-AA42-767B2DD964A6}"/>
              </a:ext>
            </a:extLst>
          </p:cNvPr>
          <p:cNvSpPr>
            <a:spLocks noGrp="1"/>
          </p:cNvSpPr>
          <p:nvPr>
            <p:ph type="sldNum" sz="quarter" idx="4"/>
          </p:nvPr>
        </p:nvSpPr>
        <p:spPr>
          <a:xfrm>
            <a:off x="5879404" y="6530434"/>
            <a:ext cx="441213" cy="254172"/>
          </a:xfrm>
          <a:prstGeom prst="rect">
            <a:avLst/>
          </a:prstGeom>
        </p:spPr>
        <p:txBody>
          <a:bodyPr/>
          <a:lstStyle>
            <a:lvl1pPr algn="ctr">
              <a:defRPr sz="1000" u="none">
                <a:latin typeface="+mj-lt"/>
              </a:defRPr>
            </a:lvl1pPr>
          </a:lstStyle>
          <a:p>
            <a:pPr fontAlgn="base">
              <a:spcBef>
                <a:spcPct val="0"/>
              </a:spcBef>
              <a:spcAft>
                <a:spcPct val="0"/>
              </a:spcAft>
            </a:pPr>
            <a:fld id="{86CB4B4D-7CA3-9044-876B-883B54F8677D}" type="slidenum">
              <a:rPr lang="x-none" smtClean="0">
                <a:solidFill>
                  <a:prstClr val="black"/>
                </a:solidFill>
                <a:ea typeface="MS PGothic" pitchFamily="34" charset="-128"/>
              </a:rPr>
              <a:pPr fontAlgn="base">
                <a:spcBef>
                  <a:spcPct val="0"/>
                </a:spcBef>
                <a:spcAft>
                  <a:spcPct val="0"/>
                </a:spcAft>
              </a:pPr>
              <a:t>‹#›</a:t>
            </a:fld>
            <a:endParaRPr lang="x-none">
              <a:solidFill>
                <a:prstClr val="black"/>
              </a:solidFill>
              <a:ea typeface="MS PGothic" pitchFamily="34" charset="-128"/>
            </a:endParaRPr>
          </a:p>
        </p:txBody>
      </p:sp>
    </p:spTree>
    <p:extLst>
      <p:ext uri="{BB962C8B-B14F-4D97-AF65-F5344CB8AC3E}">
        <p14:creationId xmlns:p14="http://schemas.microsoft.com/office/powerpoint/2010/main" val="618682590"/>
      </p:ext>
    </p:extLst>
  </p:cSld>
  <p:clrMap bg1="lt1" tx1="dk1" bg2="lt2" tx2="dk2" accent1="accent1" accent2="accent2" accent3="accent3" accent4="accent4" accent5="accent5" accent6="accent6" hlink="hlink" folHlink="folHlink"/>
  <p:sldLayoutIdLst>
    <p:sldLayoutId id="2147483669" r:id="rId1"/>
  </p:sldLayoutIdLst>
  <p:transition spd="med"/>
  <p:hf hdr="0" ftr="0" dt="0"/>
  <p:txStyles>
    <p:titleStyle>
      <a:lvl1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1pPr>
      <a:lvl2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2pPr>
      <a:lvl3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3pPr>
      <a:lvl4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4pPr>
      <a:lvl5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5pPr>
      <a:lvl6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6pPr>
      <a:lvl7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7pPr>
      <a:lvl8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8pPr>
      <a:lvl9pPr marL="0" marR="0" indent="0" algn="l" defTabSz="412750" latinLnBrk="0">
        <a:lnSpc>
          <a:spcPct val="110000"/>
        </a:lnSpc>
        <a:spcBef>
          <a:spcPts val="0"/>
        </a:spcBef>
        <a:spcAft>
          <a:spcPts val="0"/>
        </a:spcAft>
        <a:buClrTx/>
        <a:buSzTx/>
        <a:buFontTx/>
        <a:buNone/>
        <a:tabLst/>
        <a:defRPr sz="6000" b="0" i="0" u="none" strike="noStrike" cap="none" spc="-240" baseline="0">
          <a:solidFill>
            <a:srgbClr val="191919"/>
          </a:solidFill>
          <a:uFillTx/>
          <a:latin typeface="Graphik-SemiboldItalic"/>
          <a:ea typeface="Graphik-SemiboldItalic"/>
          <a:cs typeface="Graphik-SemiboldItalic"/>
          <a:sym typeface="Graphik Semibold"/>
        </a:defRPr>
      </a:lvl9pPr>
    </p:titleStyle>
    <p:bodyStyle>
      <a:lvl1pPr marL="0" marR="0" indent="0" algn="l" defTabSz="412750" latinLnBrk="0">
        <a:lnSpc>
          <a:spcPct val="140000"/>
        </a:lnSpc>
        <a:spcBef>
          <a:spcPts val="2950"/>
        </a:spcBef>
        <a:spcAft>
          <a:spcPts val="0"/>
        </a:spcAft>
        <a:buClrTx/>
        <a:buSzTx/>
        <a:buFontTx/>
        <a:buNone/>
        <a:tabLst/>
        <a:defRPr sz="2400" b="0" i="0" u="none" strike="noStrike" cap="none" spc="-48" baseline="0">
          <a:solidFill>
            <a:srgbClr val="191919"/>
          </a:solidFill>
          <a:uFillTx/>
          <a:latin typeface="Graphik Regular"/>
          <a:ea typeface="Graphik Regular"/>
          <a:cs typeface="Graphik Regular"/>
          <a:sym typeface="Graphik"/>
        </a:defRPr>
      </a:lvl1pPr>
      <a:lvl2pPr marL="635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2pPr>
      <a:lvl3pPr marL="952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3pPr>
      <a:lvl4pPr marL="1270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4pPr>
      <a:lvl5pPr marL="1587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5pPr>
      <a:lvl6pPr marL="1905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6pPr>
      <a:lvl7pPr marL="2222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7pPr>
      <a:lvl8pPr marL="25400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8pPr>
      <a:lvl9pPr marL="2857500" marR="0" indent="-317500" algn="l" defTabSz="412750" latinLnBrk="0">
        <a:lnSpc>
          <a:spcPct val="140000"/>
        </a:lnSpc>
        <a:spcBef>
          <a:spcPts val="2950"/>
        </a:spcBef>
        <a:spcAft>
          <a:spcPts val="0"/>
        </a:spcAft>
        <a:buClrTx/>
        <a:buSzPct val="125000"/>
        <a:buFontTx/>
        <a:buChar char="•"/>
        <a:tabLst/>
        <a:defRPr sz="2400" b="0" i="0" u="none" strike="noStrike" cap="none" spc="-48" baseline="0">
          <a:solidFill>
            <a:srgbClr val="191919"/>
          </a:solidFill>
          <a:uFillTx/>
          <a:latin typeface="Graphik Regular"/>
          <a:ea typeface="Graphik Regular"/>
          <a:cs typeface="Graphik Regular"/>
          <a:sym typeface="Graphik"/>
        </a:defRPr>
      </a:lvl9pPr>
    </p:bodyStyle>
    <p:otherStyle>
      <a:lvl1pPr marL="0" marR="0" indent="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1pPr>
      <a:lvl2pPr marL="0" marR="0" indent="1143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2pPr>
      <a:lvl3pPr marL="0" marR="0" indent="2286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3pPr>
      <a:lvl4pPr marL="0" marR="0" indent="3429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4pPr>
      <a:lvl5pPr marL="0" marR="0" indent="4572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5pPr>
      <a:lvl6pPr marL="0" marR="0" indent="5715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6pPr>
      <a:lvl7pPr marL="0" marR="0" indent="6858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7pPr>
      <a:lvl8pPr marL="0" marR="0" indent="8001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8pPr>
      <a:lvl9pPr marL="0" marR="0" indent="914400" algn="l" defTabSz="412750" latinLnBrk="0">
        <a:lnSpc>
          <a:spcPct val="140000"/>
        </a:lnSpc>
        <a:spcBef>
          <a:spcPts val="0"/>
        </a:spcBef>
        <a:spcAft>
          <a:spcPts val="0"/>
        </a:spcAft>
        <a:buClrTx/>
        <a:buSzTx/>
        <a:buFontTx/>
        <a:buNone/>
        <a:tabLst/>
        <a:defRPr sz="800" b="0" i="0" u="none" strike="noStrike" cap="none" spc="-32" baseline="0">
          <a:solidFill>
            <a:schemeClr val="tx1"/>
          </a:solidFill>
          <a:uFillTx/>
          <a:latin typeface="+mn-lt"/>
          <a:ea typeface="+mn-ea"/>
          <a:cs typeface="+mn-cs"/>
          <a:sym typeface="Graphik"/>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91.pn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90.png"/><Relationship Id="rId17" Type="http://schemas.openxmlformats.org/officeDocument/2006/relationships/image" Target="../media/image95.png"/><Relationship Id="rId2" Type="http://schemas.openxmlformats.org/officeDocument/2006/relationships/tags" Target="../tags/tag26.xml"/><Relationship Id="rId16" Type="http://schemas.openxmlformats.org/officeDocument/2006/relationships/image" Target="../media/image94.pn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89.png"/><Relationship Id="rId5" Type="http://schemas.openxmlformats.org/officeDocument/2006/relationships/tags" Target="../tags/tag29.xml"/><Relationship Id="rId15" Type="http://schemas.openxmlformats.org/officeDocument/2006/relationships/image" Target="../media/image93.png"/><Relationship Id="rId10" Type="http://schemas.openxmlformats.org/officeDocument/2006/relationships/image" Target="../media/image88.png"/><Relationship Id="rId4" Type="http://schemas.openxmlformats.org/officeDocument/2006/relationships/tags" Target="../tags/tag28.xml"/><Relationship Id="rId9" Type="http://schemas.openxmlformats.org/officeDocument/2006/relationships/image" Target="../media/image82.png"/><Relationship Id="rId14" Type="http://schemas.openxmlformats.org/officeDocument/2006/relationships/image" Target="../media/image92.jpe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image" Target="../media/image82.png"/></Relationships>
</file>

<file path=ppt/slides/_rels/slide1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xml"/><Relationship Id="rId7" Type="http://schemas.openxmlformats.org/officeDocument/2006/relationships/image" Target="../media/image98.png"/><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6.emf"/><Relationship Id="rId5" Type="http://schemas.openxmlformats.org/officeDocument/2006/relationships/oleObject" Target="../embeddings/oleObject11.bin"/><Relationship Id="rId10" Type="http://schemas.openxmlformats.org/officeDocument/2006/relationships/image" Target="../media/image4.png"/><Relationship Id="rId4" Type="http://schemas.openxmlformats.org/officeDocument/2006/relationships/image" Target="../media/image97.jpeg"/><Relationship Id="rId9" Type="http://schemas.openxmlformats.org/officeDocument/2006/relationships/image" Target="../media/image3.svg"/></Relationships>
</file>

<file path=ppt/slides/_rels/slide14.xml.rels><?xml version="1.0" encoding="UTF-8" standalone="yes"?>
<Relationships xmlns="http://schemas.openxmlformats.org/package/2006/relationships"><Relationship Id="rId13" Type="http://schemas.openxmlformats.org/officeDocument/2006/relationships/image" Target="../media/image110.png"/><Relationship Id="rId18" Type="http://schemas.openxmlformats.org/officeDocument/2006/relationships/image" Target="../media/image115.png"/><Relationship Id="rId26" Type="http://schemas.openxmlformats.org/officeDocument/2006/relationships/image" Target="../media/image123.png"/><Relationship Id="rId39" Type="http://schemas.openxmlformats.org/officeDocument/2006/relationships/image" Target="../media/image134.png"/><Relationship Id="rId21" Type="http://schemas.openxmlformats.org/officeDocument/2006/relationships/image" Target="../media/image118.png"/><Relationship Id="rId34" Type="http://schemas.openxmlformats.org/officeDocument/2006/relationships/image" Target="../media/image129.png"/><Relationship Id="rId42" Type="http://schemas.openxmlformats.org/officeDocument/2006/relationships/image" Target="../media/image137.png"/><Relationship Id="rId47" Type="http://schemas.openxmlformats.org/officeDocument/2006/relationships/image" Target="../media/image142.png"/><Relationship Id="rId50" Type="http://schemas.openxmlformats.org/officeDocument/2006/relationships/image" Target="../media/image145.png"/><Relationship Id="rId55" Type="http://schemas.openxmlformats.org/officeDocument/2006/relationships/image" Target="../media/image150.png"/><Relationship Id="rId7" Type="http://schemas.openxmlformats.org/officeDocument/2006/relationships/image" Target="../media/image104.jpeg"/><Relationship Id="rId2" Type="http://schemas.openxmlformats.org/officeDocument/2006/relationships/image" Target="../media/image99.jpeg"/><Relationship Id="rId16" Type="http://schemas.openxmlformats.org/officeDocument/2006/relationships/image" Target="../media/image113.jpeg"/><Relationship Id="rId29" Type="http://schemas.openxmlformats.org/officeDocument/2006/relationships/image" Target="../media/image48.png"/><Relationship Id="rId11" Type="http://schemas.openxmlformats.org/officeDocument/2006/relationships/image" Target="../media/image108.jpeg"/><Relationship Id="rId24" Type="http://schemas.openxmlformats.org/officeDocument/2006/relationships/image" Target="../media/image121.jpeg"/><Relationship Id="rId32" Type="http://schemas.openxmlformats.org/officeDocument/2006/relationships/image" Target="../media/image127.png"/><Relationship Id="rId37" Type="http://schemas.openxmlformats.org/officeDocument/2006/relationships/image" Target="../media/image132.png"/><Relationship Id="rId40" Type="http://schemas.openxmlformats.org/officeDocument/2006/relationships/image" Target="../media/image135.png"/><Relationship Id="rId45" Type="http://schemas.openxmlformats.org/officeDocument/2006/relationships/image" Target="../media/image140.png"/><Relationship Id="rId53" Type="http://schemas.openxmlformats.org/officeDocument/2006/relationships/image" Target="../media/image148.png"/><Relationship Id="rId58" Type="http://schemas.openxmlformats.org/officeDocument/2006/relationships/image" Target="../media/image153.png"/><Relationship Id="rId5" Type="http://schemas.openxmlformats.org/officeDocument/2006/relationships/image" Target="../media/image102.png"/><Relationship Id="rId19" Type="http://schemas.openxmlformats.org/officeDocument/2006/relationships/image" Target="../media/image116.png"/><Relationship Id="rId4" Type="http://schemas.openxmlformats.org/officeDocument/2006/relationships/image" Target="../media/image101.jpeg"/><Relationship Id="rId9" Type="http://schemas.openxmlformats.org/officeDocument/2006/relationships/image" Target="../media/image106.jpeg"/><Relationship Id="rId14" Type="http://schemas.openxmlformats.org/officeDocument/2006/relationships/image" Target="../media/image111.png"/><Relationship Id="rId22" Type="http://schemas.openxmlformats.org/officeDocument/2006/relationships/image" Target="../media/image119.png"/><Relationship Id="rId27" Type="http://schemas.openxmlformats.org/officeDocument/2006/relationships/image" Target="../media/image124.png"/><Relationship Id="rId30" Type="http://schemas.openxmlformats.org/officeDocument/2006/relationships/image" Target="../media/image50.png"/><Relationship Id="rId35" Type="http://schemas.openxmlformats.org/officeDocument/2006/relationships/image" Target="../media/image130.png"/><Relationship Id="rId43" Type="http://schemas.openxmlformats.org/officeDocument/2006/relationships/image" Target="../media/image138.jpeg"/><Relationship Id="rId48" Type="http://schemas.openxmlformats.org/officeDocument/2006/relationships/image" Target="../media/image143.jpeg"/><Relationship Id="rId56" Type="http://schemas.openxmlformats.org/officeDocument/2006/relationships/image" Target="../media/image151.png"/><Relationship Id="rId8" Type="http://schemas.openxmlformats.org/officeDocument/2006/relationships/image" Target="../media/image105.png"/><Relationship Id="rId51" Type="http://schemas.openxmlformats.org/officeDocument/2006/relationships/image" Target="../media/image146.png"/><Relationship Id="rId3" Type="http://schemas.openxmlformats.org/officeDocument/2006/relationships/image" Target="../media/image100.png"/><Relationship Id="rId12" Type="http://schemas.openxmlformats.org/officeDocument/2006/relationships/image" Target="../media/image109.png"/><Relationship Id="rId17" Type="http://schemas.openxmlformats.org/officeDocument/2006/relationships/image" Target="../media/image114.png"/><Relationship Id="rId25" Type="http://schemas.openxmlformats.org/officeDocument/2006/relationships/image" Target="../media/image122.png"/><Relationship Id="rId33" Type="http://schemas.openxmlformats.org/officeDocument/2006/relationships/image" Target="../media/image128.png"/><Relationship Id="rId38" Type="http://schemas.openxmlformats.org/officeDocument/2006/relationships/image" Target="../media/image133.png"/><Relationship Id="rId46" Type="http://schemas.openxmlformats.org/officeDocument/2006/relationships/image" Target="../media/image141.jpeg"/><Relationship Id="rId59" Type="http://schemas.openxmlformats.org/officeDocument/2006/relationships/image" Target="../media/image154.png"/><Relationship Id="rId20" Type="http://schemas.openxmlformats.org/officeDocument/2006/relationships/image" Target="../media/image117.jpeg"/><Relationship Id="rId41" Type="http://schemas.openxmlformats.org/officeDocument/2006/relationships/image" Target="../media/image136.jpeg"/><Relationship Id="rId54" Type="http://schemas.openxmlformats.org/officeDocument/2006/relationships/image" Target="../media/image149.emf"/><Relationship Id="rId1" Type="http://schemas.openxmlformats.org/officeDocument/2006/relationships/slideLayout" Target="../slideLayouts/slideLayout6.xml"/><Relationship Id="rId6" Type="http://schemas.openxmlformats.org/officeDocument/2006/relationships/image" Target="../media/image103.png"/><Relationship Id="rId15" Type="http://schemas.openxmlformats.org/officeDocument/2006/relationships/image" Target="../media/image112.png"/><Relationship Id="rId23" Type="http://schemas.openxmlformats.org/officeDocument/2006/relationships/image" Target="../media/image120.png"/><Relationship Id="rId28" Type="http://schemas.openxmlformats.org/officeDocument/2006/relationships/image" Target="../media/image125.png"/><Relationship Id="rId36" Type="http://schemas.openxmlformats.org/officeDocument/2006/relationships/image" Target="../media/image131.png"/><Relationship Id="rId49" Type="http://schemas.openxmlformats.org/officeDocument/2006/relationships/image" Target="../media/image144.png"/><Relationship Id="rId57" Type="http://schemas.openxmlformats.org/officeDocument/2006/relationships/image" Target="../media/image152.png"/><Relationship Id="rId10" Type="http://schemas.openxmlformats.org/officeDocument/2006/relationships/image" Target="../media/image107.png"/><Relationship Id="rId31" Type="http://schemas.openxmlformats.org/officeDocument/2006/relationships/image" Target="../media/image126.png"/><Relationship Id="rId44" Type="http://schemas.openxmlformats.org/officeDocument/2006/relationships/image" Target="../media/image139.png"/><Relationship Id="rId52" Type="http://schemas.openxmlformats.org/officeDocument/2006/relationships/image" Target="../media/image147.png"/><Relationship Id="rId60" Type="http://schemas.openxmlformats.org/officeDocument/2006/relationships/image" Target="../media/image155.png"/></Relationships>
</file>

<file path=ppt/slides/_rels/slide15.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jpeg"/><Relationship Id="rId39" Type="http://schemas.openxmlformats.org/officeDocument/2006/relationships/image" Target="../media/image49.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5.png"/><Relationship Id="rId50" Type="http://schemas.microsoft.com/office/2007/relationships/hdphoto" Target="../media/hdphoto3.wdp"/><Relationship Id="rId55" Type="http://schemas.openxmlformats.org/officeDocument/2006/relationships/image" Target="../media/image60.png"/><Relationship Id="rId7" Type="http://schemas.openxmlformats.org/officeDocument/2006/relationships/image" Target="../media/image17.png"/><Relationship Id="rId2" Type="http://schemas.openxmlformats.org/officeDocument/2006/relationships/image" Target="../media/image12.jpeg"/><Relationship Id="rId16" Type="http://schemas.openxmlformats.org/officeDocument/2006/relationships/image" Target="../media/image26.png"/><Relationship Id="rId29" Type="http://schemas.openxmlformats.org/officeDocument/2006/relationships/image" Target="../media/image39.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jpeg"/><Relationship Id="rId37" Type="http://schemas.openxmlformats.org/officeDocument/2006/relationships/image" Target="../media/image47.png"/><Relationship Id="rId40" Type="http://schemas.openxmlformats.org/officeDocument/2006/relationships/image" Target="../media/image50.png"/><Relationship Id="rId45" Type="http://schemas.microsoft.com/office/2007/relationships/hdphoto" Target="../media/hdphoto2.wdp"/><Relationship Id="rId53" Type="http://schemas.openxmlformats.org/officeDocument/2006/relationships/image" Target="../media/image59.png"/><Relationship Id="rId58" Type="http://schemas.openxmlformats.org/officeDocument/2006/relationships/image" Target="../media/image62.png"/><Relationship Id="rId5" Type="http://schemas.openxmlformats.org/officeDocument/2006/relationships/image" Target="../media/image15.jpe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jpeg"/><Relationship Id="rId22" Type="http://schemas.openxmlformats.org/officeDocument/2006/relationships/image" Target="../media/image32.jpe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microsoft.com/office/2007/relationships/hdphoto" Target="../media/hdphoto1.wdp"/><Relationship Id="rId48" Type="http://schemas.openxmlformats.org/officeDocument/2006/relationships/image" Target="../media/image56.png"/><Relationship Id="rId56" Type="http://schemas.openxmlformats.org/officeDocument/2006/relationships/image" Target="../media/image61.png"/><Relationship Id="rId8" Type="http://schemas.openxmlformats.org/officeDocument/2006/relationships/image" Target="../media/image18.jpeg"/><Relationship Id="rId51" Type="http://schemas.openxmlformats.org/officeDocument/2006/relationships/image" Target="../media/image58.png"/><Relationship Id="rId3" Type="http://schemas.openxmlformats.org/officeDocument/2006/relationships/image" Target="../media/image13.pn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4.png"/><Relationship Id="rId59" Type="http://schemas.microsoft.com/office/2007/relationships/hdphoto" Target="../media/hdphoto7.wdp"/><Relationship Id="rId20" Type="http://schemas.openxmlformats.org/officeDocument/2006/relationships/image" Target="../media/image30.jpeg"/><Relationship Id="rId41" Type="http://schemas.openxmlformats.org/officeDocument/2006/relationships/image" Target="../media/image51.png"/><Relationship Id="rId54" Type="http://schemas.microsoft.com/office/2007/relationships/hdphoto" Target="../media/hdphoto5.wdp"/><Relationship Id="rId1" Type="http://schemas.openxmlformats.org/officeDocument/2006/relationships/slideLayout" Target="../slideLayouts/slideLayout1.xml"/><Relationship Id="rId6" Type="http://schemas.openxmlformats.org/officeDocument/2006/relationships/image" Target="../media/image16.png"/><Relationship Id="rId15" Type="http://schemas.openxmlformats.org/officeDocument/2006/relationships/image" Target="../media/image25.jpeg"/><Relationship Id="rId23" Type="http://schemas.openxmlformats.org/officeDocument/2006/relationships/image" Target="../media/image33.png"/><Relationship Id="rId28" Type="http://schemas.openxmlformats.org/officeDocument/2006/relationships/image" Target="../media/image38.jpeg"/><Relationship Id="rId36" Type="http://schemas.openxmlformats.org/officeDocument/2006/relationships/image" Target="../media/image46.png"/><Relationship Id="rId49" Type="http://schemas.openxmlformats.org/officeDocument/2006/relationships/image" Target="../media/image57.png"/><Relationship Id="rId57" Type="http://schemas.microsoft.com/office/2007/relationships/hdphoto" Target="../media/hdphoto6.wdp"/><Relationship Id="rId10" Type="http://schemas.openxmlformats.org/officeDocument/2006/relationships/image" Target="../media/image20.jpeg"/><Relationship Id="rId31" Type="http://schemas.openxmlformats.org/officeDocument/2006/relationships/image" Target="../media/image41.png"/><Relationship Id="rId44" Type="http://schemas.openxmlformats.org/officeDocument/2006/relationships/image" Target="../media/image53.png"/><Relationship Id="rId52"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69.jpeg"/><Relationship Id="rId13" Type="http://schemas.openxmlformats.org/officeDocument/2006/relationships/image" Target="../media/image74.tiff"/><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tiff"/><Relationship Id="rId2" Type="http://schemas.openxmlformats.org/officeDocument/2006/relationships/image" Target="../media/image63.png"/><Relationship Id="rId1" Type="http://schemas.openxmlformats.org/officeDocument/2006/relationships/slideLayout" Target="../slideLayouts/slideLayout1.xml"/><Relationship Id="rId6" Type="http://schemas.openxmlformats.org/officeDocument/2006/relationships/image" Target="../media/image67.png"/><Relationship Id="rId11" Type="http://schemas.openxmlformats.org/officeDocument/2006/relationships/image" Target="../media/image72.tiff"/><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jpg"/><Relationship Id="rId14" Type="http://schemas.openxmlformats.org/officeDocument/2006/relationships/image" Target="../media/image75.tiff"/></Relationships>
</file>

<file path=ppt/slides/_rels/slide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63.png"/><Relationship Id="rId1" Type="http://schemas.openxmlformats.org/officeDocument/2006/relationships/slideLayout" Target="../slideLayouts/slideLayout1.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84.png"/><Relationship Id="rId5" Type="http://schemas.openxmlformats.org/officeDocument/2006/relationships/tags" Target="../tags/tag15.xml"/><Relationship Id="rId10" Type="http://schemas.openxmlformats.org/officeDocument/2006/relationships/image" Target="../media/image83.png"/><Relationship Id="rId4" Type="http://schemas.openxmlformats.org/officeDocument/2006/relationships/tags" Target="../tags/tag14.xml"/><Relationship Id="rId9" Type="http://schemas.openxmlformats.org/officeDocument/2006/relationships/image" Target="../media/image82.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87.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86.png"/><Relationship Id="rId5" Type="http://schemas.openxmlformats.org/officeDocument/2006/relationships/tags" Target="../tags/tag22.xml"/><Relationship Id="rId10" Type="http://schemas.openxmlformats.org/officeDocument/2006/relationships/image" Target="../media/image85.png"/><Relationship Id="rId4" Type="http://schemas.openxmlformats.org/officeDocument/2006/relationships/tags" Target="../tags/tag21.xml"/><Relationship Id="rId9" Type="http://schemas.openxmlformats.org/officeDocument/2006/relationships/image" Target="../media/image8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21"/>
          </p:nvPr>
        </p:nvSpPr>
        <p:spPr>
          <a:xfrm>
            <a:off x="511452" y="466839"/>
            <a:ext cx="11520000" cy="393879"/>
          </a:xfrm>
        </p:spPr>
        <p:txBody>
          <a:bodyPr/>
          <a:lstStyle/>
          <a:p>
            <a:r>
              <a:rPr lang="ja-JP" altLang="en-US" sz="3600" dirty="0"/>
              <a:t>自己紹介</a:t>
            </a:r>
            <a:endParaRPr lang="en-GB" sz="3600" dirty="0"/>
          </a:p>
        </p:txBody>
      </p:sp>
      <p:sp>
        <p:nvSpPr>
          <p:cNvPr id="51" name="Rectángulo 113">
            <a:extLst>
              <a:ext uri="{FF2B5EF4-FFF2-40B4-BE49-F238E27FC236}">
                <a16:creationId xmlns:a16="http://schemas.microsoft.com/office/drawing/2014/main" id="{2D77D88B-6A4C-427C-B822-D9E9902C1BE2}"/>
              </a:ext>
            </a:extLst>
          </p:cNvPr>
          <p:cNvSpPr/>
          <p:nvPr/>
        </p:nvSpPr>
        <p:spPr>
          <a:xfrm>
            <a:off x="827017" y="860718"/>
            <a:ext cx="10888870" cy="199456"/>
          </a:xfrm>
          <a:prstGeom prst="rect">
            <a:avLst/>
          </a:prstGeom>
          <a:solidFill>
            <a:schemeClr val="bg1"/>
          </a:solidFill>
          <a:ln w="3175" cap="flat" cmpd="sng" algn="ctr">
            <a:solidFill>
              <a:schemeClr val="bg1"/>
            </a:solidFill>
            <a:prstDash val="solid"/>
            <a:miter lim="800000"/>
          </a:ln>
          <a:effectLst/>
        </p:spPr>
        <p:txBody>
          <a:bodyPr lIns="252000" tIns="360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lang="pt-BR" sz="2800" b="1" kern="0" spc="300" dirty="0">
              <a:solidFill>
                <a:srgbClr val="0070C0"/>
              </a:solidFill>
            </a:endParaRPr>
          </a:p>
          <a:p>
            <a:pPr lvl="0">
              <a:lnSpc>
                <a:spcPct val="150000"/>
              </a:lnSpc>
              <a:spcAft>
                <a:spcPts val="900"/>
              </a:spcAft>
              <a:tabLst>
                <a:tab pos="179388" algn="l"/>
              </a:tabLst>
            </a:pPr>
            <a:r>
              <a:rPr lang="ja-JP" altLang="en-US" sz="2800" b="1" kern="0" spc="300" dirty="0">
                <a:solidFill>
                  <a:srgbClr val="000000"/>
                </a:solidFill>
              </a:rPr>
              <a:t>加藤将樹</a:t>
            </a:r>
            <a:endParaRPr lang="en-US" altLang="ja-JP" sz="2800" b="1" kern="0" spc="300" dirty="0">
              <a:solidFill>
                <a:srgbClr val="000000"/>
              </a:solidFill>
            </a:endParaRPr>
          </a:p>
          <a:p>
            <a:pPr lvl="0">
              <a:lnSpc>
                <a:spcPct val="150000"/>
              </a:lnSpc>
              <a:spcAft>
                <a:spcPts val="900"/>
              </a:spcAft>
              <a:tabLst>
                <a:tab pos="179388" algn="l"/>
              </a:tabLst>
            </a:pPr>
            <a:r>
              <a:rPr lang="ja-JP" altLang="en-US" sz="2800" b="1" kern="0" spc="300" dirty="0">
                <a:solidFill>
                  <a:srgbClr val="000000"/>
                </a:solidFill>
              </a:rPr>
              <a:t>   </a:t>
            </a:r>
            <a:r>
              <a:rPr lang="en-US" altLang="ja-JP" sz="2800" b="1" kern="0" spc="300" dirty="0">
                <a:solidFill>
                  <a:srgbClr val="000000"/>
                </a:solidFill>
              </a:rPr>
              <a:t>President Metal One do </a:t>
            </a:r>
            <a:r>
              <a:rPr lang="en-US" altLang="ja-JP" sz="2800" b="1" kern="0" spc="300" dirty="0" err="1">
                <a:solidFill>
                  <a:srgbClr val="000000"/>
                </a:solidFill>
              </a:rPr>
              <a:t>Brasil</a:t>
            </a:r>
            <a:r>
              <a:rPr lang="en-US" altLang="ja-JP" sz="2800" b="1" kern="0" spc="300" dirty="0">
                <a:solidFill>
                  <a:srgbClr val="000000"/>
                </a:solidFill>
              </a:rPr>
              <a:t> </a:t>
            </a:r>
          </a:p>
          <a:p>
            <a:pPr lvl="0">
              <a:lnSpc>
                <a:spcPct val="150000"/>
              </a:lnSpc>
              <a:spcAft>
                <a:spcPts val="900"/>
              </a:spcAft>
              <a:tabLst>
                <a:tab pos="179388" algn="l"/>
              </a:tabLst>
            </a:pPr>
            <a:r>
              <a:rPr lang="en-US" altLang="ja-JP" sz="2800" b="1" kern="0" spc="300" dirty="0">
                <a:solidFill>
                  <a:srgbClr val="000000"/>
                </a:solidFill>
              </a:rPr>
              <a:t>   CRO South America</a:t>
            </a:r>
          </a:p>
          <a:p>
            <a:pPr lvl="0">
              <a:lnSpc>
                <a:spcPct val="150000"/>
              </a:lnSpc>
              <a:spcAft>
                <a:spcPts val="900"/>
              </a:spcAft>
              <a:tabLst>
                <a:tab pos="179388" algn="l"/>
              </a:tabLst>
            </a:pPr>
            <a:r>
              <a:rPr lang="ja-JP" altLang="en-US" sz="2800" b="1" kern="0" spc="300" dirty="0">
                <a:solidFill>
                  <a:srgbClr val="000000"/>
                </a:solidFill>
              </a:rPr>
              <a:t>中嶋慶子 </a:t>
            </a:r>
            <a:r>
              <a:rPr lang="en-US" altLang="ja-JP" sz="2800" b="1" kern="0" spc="300" dirty="0">
                <a:solidFill>
                  <a:srgbClr val="000000"/>
                </a:solidFill>
              </a:rPr>
              <a:t> </a:t>
            </a:r>
          </a:p>
          <a:p>
            <a:pPr lvl="0">
              <a:lnSpc>
                <a:spcPct val="150000"/>
              </a:lnSpc>
              <a:spcAft>
                <a:spcPts val="900"/>
              </a:spcAft>
              <a:tabLst>
                <a:tab pos="179388" algn="l"/>
              </a:tabLst>
            </a:pPr>
            <a:r>
              <a:rPr lang="ja-JP" altLang="en-US" sz="2800" b="1" kern="0" spc="300" dirty="0">
                <a:solidFill>
                  <a:srgbClr val="000000"/>
                </a:solidFill>
              </a:rPr>
              <a:t>　</a:t>
            </a:r>
            <a:r>
              <a:rPr lang="es-ES" altLang="ja-JP" sz="2800" b="1" kern="0" spc="300" dirty="0">
                <a:solidFill>
                  <a:srgbClr val="000000"/>
                </a:solidFill>
              </a:rPr>
              <a:t>Manager </a:t>
            </a:r>
            <a:r>
              <a:rPr lang="es-ES" altLang="ja-JP" sz="2800" b="1" kern="0" spc="300" dirty="0" err="1">
                <a:solidFill>
                  <a:srgbClr val="000000"/>
                </a:solidFill>
              </a:rPr>
              <a:t>Industry</a:t>
            </a:r>
            <a:r>
              <a:rPr lang="es-ES" altLang="ja-JP" sz="2800" b="1" kern="0" spc="300" dirty="0">
                <a:solidFill>
                  <a:srgbClr val="000000"/>
                </a:solidFill>
              </a:rPr>
              <a:t> sector, </a:t>
            </a:r>
          </a:p>
          <a:p>
            <a:pPr lvl="0">
              <a:lnSpc>
                <a:spcPct val="150000"/>
              </a:lnSpc>
              <a:spcAft>
                <a:spcPts val="900"/>
              </a:spcAft>
              <a:tabLst>
                <a:tab pos="179388" algn="l"/>
              </a:tabLst>
            </a:pPr>
            <a:r>
              <a:rPr lang="ja-JP" altLang="en-US" sz="2800" b="1" kern="0" spc="300" dirty="0">
                <a:solidFill>
                  <a:srgbClr val="000000"/>
                </a:solidFill>
              </a:rPr>
              <a:t>　</a:t>
            </a:r>
            <a:r>
              <a:rPr lang="es-ES" altLang="ja-JP" sz="2800" b="1" kern="0" spc="300" dirty="0">
                <a:solidFill>
                  <a:srgbClr val="000000"/>
                </a:solidFill>
              </a:rPr>
              <a:t>NTT DATA </a:t>
            </a:r>
            <a:r>
              <a:rPr lang="es-ES" altLang="ja-JP" sz="2800" b="1" kern="0" spc="300" dirty="0" err="1">
                <a:solidFill>
                  <a:srgbClr val="000000"/>
                </a:solidFill>
              </a:rPr>
              <a:t>Europe</a:t>
            </a:r>
            <a:r>
              <a:rPr lang="es-ES" altLang="ja-JP" sz="2800" b="1" kern="0" spc="300" dirty="0">
                <a:solidFill>
                  <a:srgbClr val="000000"/>
                </a:solidFill>
              </a:rPr>
              <a:t> and </a:t>
            </a:r>
            <a:r>
              <a:rPr lang="es-ES" altLang="ja-JP" sz="2800" b="1" kern="0" spc="300" dirty="0" err="1">
                <a:solidFill>
                  <a:srgbClr val="000000"/>
                </a:solidFill>
              </a:rPr>
              <a:t>LatAm</a:t>
            </a:r>
            <a:r>
              <a:rPr lang="es-ES" altLang="ja-JP" sz="2800" b="1" kern="0" spc="300" dirty="0">
                <a:solidFill>
                  <a:srgbClr val="000000"/>
                </a:solidFill>
              </a:rPr>
              <a:t> (EMEAL)</a:t>
            </a:r>
          </a:p>
          <a:p>
            <a:pPr lvl="0">
              <a:spcAft>
                <a:spcPts val="900"/>
              </a:spcAft>
              <a:tabLst>
                <a:tab pos="179388" algn="l"/>
              </a:tabLst>
            </a:pPr>
            <a:endParaRPr lang="pt-BR" sz="1300" b="1" i="1" kern="0" spc="300" dirty="0">
              <a:solidFill>
                <a:srgbClr val="000000"/>
              </a:solidFill>
            </a:endParaRPr>
          </a:p>
        </p:txBody>
      </p:sp>
    </p:spTree>
    <p:extLst>
      <p:ext uri="{BB962C8B-B14F-4D97-AF65-F5344CB8AC3E}">
        <p14:creationId xmlns:p14="http://schemas.microsoft.com/office/powerpoint/2010/main" val="255276814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p:cNvPicPr>
            <a:picLocks noChangeAspect="1"/>
          </p:cNvPicPr>
          <p:nvPr/>
        </p:nvPicPr>
        <p:blipFill>
          <a:blip r:embed="rId9"/>
          <a:stretch>
            <a:fillRect/>
          </a:stretch>
        </p:blipFill>
        <p:spPr>
          <a:xfrm>
            <a:off x="5966499" y="1388976"/>
            <a:ext cx="5672234" cy="5071459"/>
          </a:xfrm>
          <a:prstGeom prst="rect">
            <a:avLst/>
          </a:prstGeom>
        </p:spPr>
      </p:pic>
      <p:sp>
        <p:nvSpPr>
          <p:cNvPr id="4" name="Marcador de texto 3"/>
          <p:cNvSpPr>
            <a:spLocks noGrp="1"/>
          </p:cNvSpPr>
          <p:nvPr>
            <p:ph type="body" sz="quarter" idx="21"/>
          </p:nvPr>
        </p:nvSpPr>
        <p:spPr/>
        <p:txBody>
          <a:bodyPr/>
          <a:lstStyle/>
          <a:p>
            <a:r>
              <a:rPr lang="es-ES" altLang="ja-JP" sz="2400" dirty="0"/>
              <a:t>0</a:t>
            </a:r>
            <a:r>
              <a:rPr lang="en-US" altLang="ja-JP" sz="2400" dirty="0"/>
              <a:t>4</a:t>
            </a:r>
            <a:r>
              <a:rPr lang="es-ES" altLang="ja-JP" sz="2400" dirty="0"/>
              <a:t>. </a:t>
            </a:r>
            <a:r>
              <a:rPr lang="ja-JP" altLang="es-ES" sz="2400" dirty="0"/>
              <a:t>事例</a:t>
            </a:r>
            <a:r>
              <a:rPr lang="es-ES" altLang="ja-JP" sz="2400" dirty="0"/>
              <a:t>:</a:t>
            </a:r>
            <a:r>
              <a:rPr lang="ja-JP" altLang="es-ES" sz="2400" dirty="0"/>
              <a:t> </a:t>
            </a:r>
            <a:r>
              <a:rPr lang="es-ES" altLang="ja-JP" sz="2400" dirty="0">
                <a:latin typeface="ＭＳ Ｐゴシック" panose="020B0600070205080204" pitchFamily="50" charset="-128"/>
                <a:ea typeface="ＭＳ Ｐゴシック" panose="020B0600070205080204" pitchFamily="50" charset="-128"/>
              </a:rPr>
              <a:t>VIVO</a:t>
            </a:r>
            <a:endParaRPr lang="en-GB" sz="2400" dirty="0">
              <a:latin typeface="ＭＳ Ｐゴシック" panose="020B0600070205080204" pitchFamily="50" charset="-128"/>
              <a:ea typeface="ＭＳ Ｐゴシック" panose="020B0600070205080204" pitchFamily="50" charset="-128"/>
            </a:endParaRPr>
          </a:p>
        </p:txBody>
      </p:sp>
      <p:sp>
        <p:nvSpPr>
          <p:cNvPr id="5" name="Rectangle 158"/>
          <p:cNvSpPr/>
          <p:nvPr/>
        </p:nvSpPr>
        <p:spPr>
          <a:xfrm>
            <a:off x="677432" y="1376218"/>
            <a:ext cx="5239151" cy="1108566"/>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600" b="1" kern="0" dirty="0">
                <a:solidFill>
                  <a:prstClr val="black"/>
                </a:solidFill>
              </a:rPr>
              <a:t>             </a:t>
            </a:r>
            <a:endParaRPr lang="en-US" sz="1600" kern="0" dirty="0">
              <a:solidFill>
                <a:prstClr val="black"/>
              </a:solidFill>
            </a:endParaRPr>
          </a:p>
        </p:txBody>
      </p:sp>
      <p:sp>
        <p:nvSpPr>
          <p:cNvPr id="6" name="Rectangle 159"/>
          <p:cNvSpPr/>
          <p:nvPr/>
        </p:nvSpPr>
        <p:spPr>
          <a:xfrm>
            <a:off x="511453" y="1376218"/>
            <a:ext cx="165980" cy="5084218"/>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defRPr/>
            </a:pPr>
            <a:endParaRPr lang="en-US" kern="0" dirty="0">
              <a:solidFill>
                <a:prstClr val="black"/>
              </a:solidFill>
            </a:endParaRPr>
          </a:p>
        </p:txBody>
      </p:sp>
      <p:grpSp>
        <p:nvGrpSpPr>
          <p:cNvPr id="7" name="Group 14">
            <a:extLst>
              <a:ext uri="{FF2B5EF4-FFF2-40B4-BE49-F238E27FC236}">
                <a16:creationId xmlns:a16="http://schemas.microsoft.com/office/drawing/2014/main" id="{1C37A94A-2FB5-48D0-A786-B43F2FD416E0}"/>
              </a:ext>
            </a:extLst>
          </p:cNvPr>
          <p:cNvGrpSpPr/>
          <p:nvPr/>
        </p:nvGrpSpPr>
        <p:grpSpPr>
          <a:xfrm>
            <a:off x="759417" y="1474749"/>
            <a:ext cx="552985" cy="552985"/>
            <a:chOff x="761861" y="3510594"/>
            <a:chExt cx="552985" cy="552985"/>
          </a:xfrm>
        </p:grpSpPr>
        <p:sp>
          <p:nvSpPr>
            <p:cNvPr id="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grpSp>
          <p:nvGrpSpPr>
            <p:cNvPr id="10" name="Identification" descr="{&quot;Key&quot;:&quot;POWER_USER_SHAPE_ICON&quot;,&quot;Value&quot;:&quot;POWER_USER_SHAPE_ICON_STYLE_1&quot;}">
              <a:extLst>
                <a:ext uri="{FF2B5EF4-FFF2-40B4-BE49-F238E27FC236}">
                  <a16:creationId xmlns:a16="http://schemas.microsoft.com/office/drawing/2014/main" id="{A31C51EF-54B7-4BE6-A471-94D27E8E60C2}"/>
                </a:ext>
              </a:extLst>
            </p:cNvPr>
            <p:cNvGrpSpPr>
              <a:grpSpLocks noChangeAspect="1"/>
            </p:cNvGrpSpPr>
            <p:nvPr>
              <p:custDataLst>
                <p:tags r:id="rId5"/>
              </p:custDataLst>
            </p:nvPr>
          </p:nvGrpSpPr>
          <p:grpSpPr bwMode="auto">
            <a:xfrm>
              <a:off x="832266" y="3655978"/>
              <a:ext cx="415466" cy="259297"/>
              <a:chOff x="81" y="144"/>
              <a:chExt cx="282" cy="176"/>
            </a:xfrm>
            <a:solidFill>
              <a:schemeClr val="bg1"/>
            </a:solidFill>
          </p:grpSpPr>
          <p:sp>
            <p:nvSpPr>
              <p:cNvPr id="11" name="Identification">
                <a:extLst>
                  <a:ext uri="{FF2B5EF4-FFF2-40B4-BE49-F238E27FC236}">
                    <a16:creationId xmlns:a16="http://schemas.microsoft.com/office/drawing/2014/main" id="{33C0A75F-109D-445B-95D8-C18C514E0300}"/>
                  </a:ext>
                </a:extLst>
              </p:cNvPr>
              <p:cNvSpPr>
                <a:spLocks noEditPoints="1"/>
              </p:cNvSpPr>
              <p:nvPr>
                <p:custDataLst>
                  <p:tags r:id="rId6"/>
                </p:custDataLst>
              </p:nvPr>
            </p:nvSpPr>
            <p:spPr bwMode="auto">
              <a:xfrm>
                <a:off x="81" y="144"/>
                <a:ext cx="282" cy="176"/>
              </a:xfrm>
              <a:custGeom>
                <a:avLst/>
                <a:gdLst>
                  <a:gd name="T0" fmla="*/ 346 w 753"/>
                  <a:gd name="T1" fmla="*/ 164 h 467"/>
                  <a:gd name="T2" fmla="*/ 51 w 753"/>
                  <a:gd name="T3" fmla="*/ 164 h 467"/>
                  <a:gd name="T4" fmla="*/ 51 w 753"/>
                  <a:gd name="T5" fmla="*/ 206 h 467"/>
                  <a:gd name="T6" fmla="*/ 346 w 753"/>
                  <a:gd name="T7" fmla="*/ 206 h 467"/>
                  <a:gd name="T8" fmla="*/ 346 w 753"/>
                  <a:gd name="T9" fmla="*/ 164 h 467"/>
                  <a:gd name="T10" fmla="*/ 51 w 753"/>
                  <a:gd name="T11" fmla="*/ 363 h 467"/>
                  <a:gd name="T12" fmla="*/ 346 w 753"/>
                  <a:gd name="T13" fmla="*/ 363 h 467"/>
                  <a:gd name="T14" fmla="*/ 346 w 753"/>
                  <a:gd name="T15" fmla="*/ 321 h 467"/>
                  <a:gd name="T16" fmla="*/ 51 w 753"/>
                  <a:gd name="T17" fmla="*/ 321 h 467"/>
                  <a:gd name="T18" fmla="*/ 51 w 753"/>
                  <a:gd name="T19" fmla="*/ 363 h 467"/>
                  <a:gd name="T20" fmla="*/ 51 w 753"/>
                  <a:gd name="T21" fmla="*/ 85 h 467"/>
                  <a:gd name="T22" fmla="*/ 51 w 753"/>
                  <a:gd name="T23" fmla="*/ 127 h 467"/>
                  <a:gd name="T24" fmla="*/ 346 w 753"/>
                  <a:gd name="T25" fmla="*/ 127 h 467"/>
                  <a:gd name="T26" fmla="*/ 346 w 753"/>
                  <a:gd name="T27" fmla="*/ 85 h 467"/>
                  <a:gd name="T28" fmla="*/ 51 w 753"/>
                  <a:gd name="T29" fmla="*/ 85 h 467"/>
                  <a:gd name="T30" fmla="*/ 384 w 753"/>
                  <a:gd name="T31" fmla="*/ 119 h 467"/>
                  <a:gd name="T32" fmla="*/ 384 w 753"/>
                  <a:gd name="T33" fmla="*/ 328 h 467"/>
                  <a:gd name="T34" fmla="*/ 404 w 753"/>
                  <a:gd name="T35" fmla="*/ 321 h 467"/>
                  <a:gd name="T36" fmla="*/ 506 w 753"/>
                  <a:gd name="T37" fmla="*/ 276 h 467"/>
                  <a:gd name="T38" fmla="*/ 509 w 753"/>
                  <a:gd name="T39" fmla="*/ 276 h 467"/>
                  <a:gd name="T40" fmla="*/ 506 w 753"/>
                  <a:gd name="T41" fmla="*/ 274 h 467"/>
                  <a:gd name="T42" fmla="*/ 459 w 753"/>
                  <a:gd name="T43" fmla="*/ 165 h 467"/>
                  <a:gd name="T44" fmla="*/ 545 w 753"/>
                  <a:gd name="T45" fmla="*/ 76 h 467"/>
                  <a:gd name="T46" fmla="*/ 628 w 753"/>
                  <a:gd name="T47" fmla="*/ 167 h 467"/>
                  <a:gd name="T48" fmla="*/ 578 w 753"/>
                  <a:gd name="T49" fmla="*/ 275 h 467"/>
                  <a:gd name="T50" fmla="*/ 680 w 753"/>
                  <a:gd name="T51" fmla="*/ 321 h 467"/>
                  <a:gd name="T52" fmla="*/ 713 w 753"/>
                  <a:gd name="T53" fmla="*/ 337 h 467"/>
                  <a:gd name="T54" fmla="*/ 713 w 753"/>
                  <a:gd name="T55" fmla="*/ 119 h 467"/>
                  <a:gd name="T56" fmla="*/ 656 w 753"/>
                  <a:gd name="T57" fmla="*/ 61 h 467"/>
                  <a:gd name="T58" fmla="*/ 545 w 753"/>
                  <a:gd name="T59" fmla="*/ 61 h 467"/>
                  <a:gd name="T60" fmla="*/ 442 w 753"/>
                  <a:gd name="T61" fmla="*/ 61 h 467"/>
                  <a:gd name="T62" fmla="*/ 384 w 753"/>
                  <a:gd name="T63" fmla="*/ 119 h 467"/>
                  <a:gd name="T64" fmla="*/ 51 w 753"/>
                  <a:gd name="T65" fmla="*/ 242 h 467"/>
                  <a:gd name="T66" fmla="*/ 51 w 753"/>
                  <a:gd name="T67" fmla="*/ 284 h 467"/>
                  <a:gd name="T68" fmla="*/ 346 w 753"/>
                  <a:gd name="T69" fmla="*/ 284 h 467"/>
                  <a:gd name="T70" fmla="*/ 346 w 753"/>
                  <a:gd name="T71" fmla="*/ 242 h 467"/>
                  <a:gd name="T72" fmla="*/ 51 w 753"/>
                  <a:gd name="T73" fmla="*/ 242 h 467"/>
                  <a:gd name="T74" fmla="*/ 753 w 753"/>
                  <a:gd name="T75" fmla="*/ 414 h 467"/>
                  <a:gd name="T76" fmla="*/ 701 w 753"/>
                  <a:gd name="T77" fmla="*/ 467 h 467"/>
                  <a:gd name="T78" fmla="*/ 53 w 753"/>
                  <a:gd name="T79" fmla="*/ 467 h 467"/>
                  <a:gd name="T80" fmla="*/ 0 w 753"/>
                  <a:gd name="T81" fmla="*/ 414 h 467"/>
                  <a:gd name="T82" fmla="*/ 0 w 753"/>
                  <a:gd name="T83" fmla="*/ 53 h 467"/>
                  <a:gd name="T84" fmla="*/ 53 w 753"/>
                  <a:gd name="T85" fmla="*/ 0 h 467"/>
                  <a:gd name="T86" fmla="*/ 701 w 753"/>
                  <a:gd name="T87" fmla="*/ 0 h 467"/>
                  <a:gd name="T88" fmla="*/ 753 w 753"/>
                  <a:gd name="T89" fmla="*/ 53 h 467"/>
                  <a:gd name="T90" fmla="*/ 753 w 753"/>
                  <a:gd name="T91" fmla="*/ 41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3" h="467">
                    <a:moveTo>
                      <a:pt x="346" y="164"/>
                    </a:moveTo>
                    <a:lnTo>
                      <a:pt x="51" y="164"/>
                    </a:lnTo>
                    <a:lnTo>
                      <a:pt x="51" y="206"/>
                    </a:lnTo>
                    <a:lnTo>
                      <a:pt x="346" y="206"/>
                    </a:lnTo>
                    <a:lnTo>
                      <a:pt x="346" y="164"/>
                    </a:lnTo>
                    <a:close/>
                    <a:moveTo>
                      <a:pt x="51" y="363"/>
                    </a:moveTo>
                    <a:lnTo>
                      <a:pt x="346" y="363"/>
                    </a:lnTo>
                    <a:lnTo>
                      <a:pt x="346" y="321"/>
                    </a:lnTo>
                    <a:lnTo>
                      <a:pt x="51" y="321"/>
                    </a:lnTo>
                    <a:lnTo>
                      <a:pt x="51" y="363"/>
                    </a:lnTo>
                    <a:close/>
                    <a:moveTo>
                      <a:pt x="51" y="85"/>
                    </a:moveTo>
                    <a:lnTo>
                      <a:pt x="51" y="127"/>
                    </a:lnTo>
                    <a:lnTo>
                      <a:pt x="346" y="127"/>
                    </a:lnTo>
                    <a:lnTo>
                      <a:pt x="346" y="85"/>
                    </a:lnTo>
                    <a:lnTo>
                      <a:pt x="51" y="85"/>
                    </a:lnTo>
                    <a:close/>
                    <a:moveTo>
                      <a:pt x="384" y="119"/>
                    </a:moveTo>
                    <a:lnTo>
                      <a:pt x="384" y="328"/>
                    </a:lnTo>
                    <a:cubicBezTo>
                      <a:pt x="390" y="326"/>
                      <a:pt x="397" y="323"/>
                      <a:pt x="404" y="321"/>
                    </a:cubicBezTo>
                    <a:cubicBezTo>
                      <a:pt x="467" y="304"/>
                      <a:pt x="499" y="297"/>
                      <a:pt x="506" y="276"/>
                    </a:cubicBezTo>
                    <a:lnTo>
                      <a:pt x="509" y="276"/>
                    </a:lnTo>
                    <a:cubicBezTo>
                      <a:pt x="508" y="275"/>
                      <a:pt x="507" y="275"/>
                      <a:pt x="506" y="274"/>
                    </a:cubicBezTo>
                    <a:cubicBezTo>
                      <a:pt x="480" y="250"/>
                      <a:pt x="459" y="203"/>
                      <a:pt x="459" y="165"/>
                    </a:cubicBezTo>
                    <a:cubicBezTo>
                      <a:pt x="459" y="111"/>
                      <a:pt x="503" y="76"/>
                      <a:pt x="545" y="76"/>
                    </a:cubicBezTo>
                    <a:cubicBezTo>
                      <a:pt x="586" y="76"/>
                      <a:pt x="628" y="114"/>
                      <a:pt x="628" y="167"/>
                    </a:cubicBezTo>
                    <a:cubicBezTo>
                      <a:pt x="628" y="205"/>
                      <a:pt x="606" y="251"/>
                      <a:pt x="578" y="275"/>
                    </a:cubicBezTo>
                    <a:cubicBezTo>
                      <a:pt x="583" y="296"/>
                      <a:pt x="615" y="304"/>
                      <a:pt x="680" y="321"/>
                    </a:cubicBezTo>
                    <a:cubicBezTo>
                      <a:pt x="694" y="325"/>
                      <a:pt x="705" y="331"/>
                      <a:pt x="713" y="337"/>
                    </a:cubicBezTo>
                    <a:lnTo>
                      <a:pt x="713" y="119"/>
                    </a:lnTo>
                    <a:cubicBezTo>
                      <a:pt x="713" y="87"/>
                      <a:pt x="688" y="61"/>
                      <a:pt x="656" y="61"/>
                    </a:cubicBezTo>
                    <a:lnTo>
                      <a:pt x="545" y="61"/>
                    </a:lnTo>
                    <a:lnTo>
                      <a:pt x="442" y="61"/>
                    </a:lnTo>
                    <a:cubicBezTo>
                      <a:pt x="410" y="61"/>
                      <a:pt x="384" y="87"/>
                      <a:pt x="384" y="119"/>
                    </a:cubicBezTo>
                    <a:close/>
                    <a:moveTo>
                      <a:pt x="51" y="242"/>
                    </a:moveTo>
                    <a:lnTo>
                      <a:pt x="51" y="284"/>
                    </a:lnTo>
                    <a:lnTo>
                      <a:pt x="346" y="284"/>
                    </a:lnTo>
                    <a:lnTo>
                      <a:pt x="346" y="242"/>
                    </a:lnTo>
                    <a:lnTo>
                      <a:pt x="51" y="242"/>
                    </a:lnTo>
                    <a:close/>
                    <a:moveTo>
                      <a:pt x="753" y="414"/>
                    </a:moveTo>
                    <a:cubicBezTo>
                      <a:pt x="753" y="443"/>
                      <a:pt x="730" y="467"/>
                      <a:pt x="701" y="467"/>
                    </a:cubicBezTo>
                    <a:lnTo>
                      <a:pt x="53" y="467"/>
                    </a:lnTo>
                    <a:cubicBezTo>
                      <a:pt x="24" y="467"/>
                      <a:pt x="0" y="443"/>
                      <a:pt x="0" y="414"/>
                    </a:cubicBezTo>
                    <a:lnTo>
                      <a:pt x="0" y="53"/>
                    </a:lnTo>
                    <a:cubicBezTo>
                      <a:pt x="0" y="24"/>
                      <a:pt x="24" y="0"/>
                      <a:pt x="53" y="0"/>
                    </a:cubicBezTo>
                    <a:lnTo>
                      <a:pt x="701" y="0"/>
                    </a:lnTo>
                    <a:cubicBezTo>
                      <a:pt x="730" y="0"/>
                      <a:pt x="753" y="24"/>
                      <a:pt x="753" y="53"/>
                    </a:cubicBezTo>
                    <a:lnTo>
                      <a:pt x="753" y="4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2" name="Identification">
                <a:extLst>
                  <a:ext uri="{FF2B5EF4-FFF2-40B4-BE49-F238E27FC236}">
                    <a16:creationId xmlns:a16="http://schemas.microsoft.com/office/drawing/2014/main" id="{985152F4-D0AD-4849-84AF-E45ED4C87A0A}"/>
                  </a:ext>
                </a:extLst>
              </p:cNvPr>
              <p:cNvSpPr>
                <a:spLocks/>
              </p:cNvSpPr>
              <p:nvPr>
                <p:custDataLst>
                  <p:tags r:id="rId7"/>
                </p:custDataLst>
              </p:nvPr>
            </p:nvSpPr>
            <p:spPr bwMode="auto">
              <a:xfrm>
                <a:off x="271" y="247"/>
                <a:ext cx="1" cy="1"/>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sp>
        <p:nvSpPr>
          <p:cNvPr id="2" name="Rectángulo 1"/>
          <p:cNvSpPr/>
          <p:nvPr/>
        </p:nvSpPr>
        <p:spPr>
          <a:xfrm>
            <a:off x="1322563" y="1444986"/>
            <a:ext cx="3220753" cy="369332"/>
          </a:xfrm>
          <a:prstGeom prst="rect">
            <a:avLst/>
          </a:prstGeom>
        </p:spPr>
        <p:txBody>
          <a:bodyPr wrap="none">
            <a:spAutoFit/>
          </a:bodyPr>
          <a:lstStyle/>
          <a:p>
            <a:r>
              <a:rPr lang="es-ES" altLang="ja-JP" b="1" dirty="0">
                <a:solidFill>
                  <a:prstClr val="black"/>
                </a:solidFill>
                <a:latin typeface="ＭＳ Ｐゴシック" panose="020B0600070205080204" pitchFamily="50" charset="-128"/>
                <a:ea typeface="ＭＳ Ｐゴシック" panose="020B0600070205080204" pitchFamily="50" charset="-128"/>
              </a:rPr>
              <a:t>RPA</a:t>
            </a:r>
            <a:r>
              <a:rPr lang="ja-JP" altLang="es-ES" b="1" dirty="0">
                <a:solidFill>
                  <a:prstClr val="black"/>
                </a:solidFill>
                <a:latin typeface="ＭＳ Ｐゴシック" panose="020B0600070205080204" pitchFamily="50" charset="-128"/>
                <a:ea typeface="ＭＳ Ｐゴシック" panose="020B0600070205080204" pitchFamily="50" charset="-128"/>
              </a:rPr>
              <a:t>および</a:t>
            </a:r>
            <a:r>
              <a:rPr lang="es-ES" altLang="ja-JP" b="1" dirty="0">
                <a:solidFill>
                  <a:prstClr val="black"/>
                </a:solidFill>
                <a:latin typeface="ＭＳ Ｐゴシック" panose="020B0600070205080204" pitchFamily="50" charset="-128"/>
                <a:ea typeface="ＭＳ Ｐゴシック" panose="020B0600070205080204" pitchFamily="50" charset="-128"/>
              </a:rPr>
              <a:t>AI</a:t>
            </a:r>
            <a:r>
              <a:rPr lang="ja-JP" altLang="es-ES" b="1" dirty="0">
                <a:solidFill>
                  <a:prstClr val="black"/>
                </a:solidFill>
                <a:latin typeface="ＭＳ Ｐゴシック" panose="020B0600070205080204" pitchFamily="50" charset="-128"/>
                <a:ea typeface="ＭＳ Ｐゴシック" panose="020B0600070205080204" pitchFamily="50" charset="-128"/>
              </a:rPr>
              <a:t>を活用した自動化</a:t>
            </a:r>
          </a:p>
        </p:txBody>
      </p:sp>
      <p:sp>
        <p:nvSpPr>
          <p:cNvPr id="13" name="Rectángulo 12"/>
          <p:cNvSpPr/>
          <p:nvPr/>
        </p:nvSpPr>
        <p:spPr>
          <a:xfrm>
            <a:off x="1391143" y="1804555"/>
            <a:ext cx="4250705" cy="584775"/>
          </a:xfrm>
          <a:prstGeom prst="rect">
            <a:avLst/>
          </a:prstGeom>
        </p:spPr>
        <p:txBody>
          <a:bodyPr wrap="square">
            <a:spAutoFit/>
          </a:bodyPr>
          <a:lstStyle/>
          <a:p>
            <a:r>
              <a:rPr lang="es-ES" altLang="ja-JP" sz="1600" dirty="0">
                <a:solidFill>
                  <a:prstClr val="black"/>
                </a:solidFill>
                <a:latin typeface="ＭＳ Ｐゴシック" panose="020B0600070205080204" pitchFamily="50" charset="-128"/>
                <a:ea typeface="ＭＳ Ｐゴシック" panose="020B0600070205080204" pitchFamily="50" charset="-128"/>
              </a:rPr>
              <a:t>NLP</a:t>
            </a:r>
            <a:r>
              <a:rPr lang="ja-JP" altLang="es-ES" sz="1600" dirty="0">
                <a:solidFill>
                  <a:prstClr val="black"/>
                </a:solidFill>
                <a:latin typeface="ＭＳ Ｐゴシック" panose="020B0600070205080204" pitchFamily="50" charset="-128"/>
                <a:ea typeface="ＭＳ Ｐゴシック" panose="020B0600070205080204" pitchFamily="50" charset="-128"/>
              </a:rPr>
              <a:t>（自然言語処理）等の</a:t>
            </a:r>
            <a:r>
              <a:rPr lang="es-ES" altLang="ja-JP" sz="1600" dirty="0">
                <a:solidFill>
                  <a:prstClr val="black"/>
                </a:solidFill>
                <a:latin typeface="ＭＳ Ｐゴシック" panose="020B0600070205080204" pitchFamily="50" charset="-128"/>
                <a:ea typeface="ＭＳ Ｐゴシック" panose="020B0600070205080204" pitchFamily="50" charset="-128"/>
              </a:rPr>
              <a:t>AI</a:t>
            </a:r>
            <a:r>
              <a:rPr lang="ja-JP" altLang="es-ES" sz="1600" dirty="0">
                <a:solidFill>
                  <a:prstClr val="black"/>
                </a:solidFill>
                <a:latin typeface="ＭＳ Ｐゴシック" panose="020B0600070205080204" pitchFamily="50" charset="-128"/>
                <a:ea typeface="ＭＳ Ｐゴシック" panose="020B0600070205080204" pitchFamily="50" charset="-128"/>
              </a:rPr>
              <a:t>技術を活用し、</a:t>
            </a:r>
            <a:endParaRPr lang="en-US" altLang="ja-JP" sz="1600" dirty="0">
              <a:solidFill>
                <a:prstClr val="black"/>
              </a:solidFill>
              <a:latin typeface="ＭＳ Ｐゴシック" panose="020B0600070205080204" pitchFamily="50" charset="-128"/>
              <a:ea typeface="ＭＳ Ｐゴシック" panose="020B0600070205080204" pitchFamily="50" charset="-128"/>
            </a:endParaRPr>
          </a:p>
          <a:p>
            <a:r>
              <a:rPr lang="ja-JP" altLang="es-ES" sz="1600" dirty="0">
                <a:solidFill>
                  <a:prstClr val="black"/>
                </a:solidFill>
                <a:latin typeface="ＭＳ Ｐゴシック" panose="020B0600070205080204" pitchFamily="50" charset="-128"/>
                <a:ea typeface="ＭＳ Ｐゴシック" panose="020B0600070205080204" pitchFamily="50" charset="-128"/>
              </a:rPr>
              <a:t>業務自動化ソリューションを提供</a:t>
            </a:r>
            <a:endParaRPr lang="en-US" sz="1600" dirty="0">
              <a:solidFill>
                <a:prstClr val="black"/>
              </a:solidFill>
              <a:latin typeface="ＭＳ Ｐゴシック" panose="020B0600070205080204" pitchFamily="50" charset="-128"/>
              <a:ea typeface="ＭＳ Ｐゴシック" panose="020B0600070205080204" pitchFamily="50" charset="-128"/>
            </a:endParaRPr>
          </a:p>
        </p:txBody>
      </p:sp>
      <p:sp>
        <p:nvSpPr>
          <p:cNvPr id="14" name="Rectangle 111"/>
          <p:cNvSpPr/>
          <p:nvPr/>
        </p:nvSpPr>
        <p:spPr>
          <a:xfrm>
            <a:off x="677432" y="4800600"/>
            <a:ext cx="5239151" cy="165983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kern="0" dirty="0">
              <a:solidFill>
                <a:prstClr val="black"/>
              </a:solidFill>
            </a:endParaRPr>
          </a:p>
        </p:txBody>
      </p:sp>
      <p:grpSp>
        <p:nvGrpSpPr>
          <p:cNvPr id="27" name="Group 14">
            <a:extLst>
              <a:ext uri="{FF2B5EF4-FFF2-40B4-BE49-F238E27FC236}">
                <a16:creationId xmlns:a16="http://schemas.microsoft.com/office/drawing/2014/main" id="{1C37A94A-2FB5-48D0-A786-B43F2FD416E0}"/>
              </a:ext>
            </a:extLst>
          </p:cNvPr>
          <p:cNvGrpSpPr/>
          <p:nvPr/>
        </p:nvGrpSpPr>
        <p:grpSpPr>
          <a:xfrm>
            <a:off x="740449" y="4830362"/>
            <a:ext cx="552985" cy="552985"/>
            <a:chOff x="761861" y="3510594"/>
            <a:chExt cx="552985" cy="552985"/>
          </a:xfrm>
        </p:grpSpPr>
        <p:sp>
          <p:nvSpPr>
            <p:cNvPr id="2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2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32" name="Identification">
              <a:extLst>
                <a:ext uri="{FF2B5EF4-FFF2-40B4-BE49-F238E27FC236}">
                  <a16:creationId xmlns:a16="http://schemas.microsoft.com/office/drawing/2014/main" id="{985152F4-D0AD-4849-84AF-E45ED4C87A0A}"/>
                </a:ext>
              </a:extLst>
            </p:cNvPr>
            <p:cNvSpPr>
              <a:spLocks/>
            </p:cNvSpPr>
            <p:nvPr>
              <p:custDataLst>
                <p:tags r:id="rId4"/>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38" name="Performance2" descr="{&quot;Key&quot;:&quot;POWER_USER_SHAPE_ICON&quot;,&quot;Value&quot;:&quot;POWER_USER_SHAPE_ICON_STYLE_1&quot;}">
            <a:extLst>
              <a:ext uri="{FF2B5EF4-FFF2-40B4-BE49-F238E27FC236}">
                <a16:creationId xmlns:a16="http://schemas.microsoft.com/office/drawing/2014/main" id="{CFE264C0-BB04-4740-BE6D-9253E9D43B05}"/>
              </a:ext>
            </a:extLst>
          </p:cNvPr>
          <p:cNvGrpSpPr>
            <a:grpSpLocks noChangeAspect="1"/>
          </p:cNvGrpSpPr>
          <p:nvPr/>
        </p:nvGrpSpPr>
        <p:grpSpPr>
          <a:xfrm>
            <a:off x="817650" y="4858379"/>
            <a:ext cx="366454" cy="467741"/>
            <a:chOff x="412750" y="4575176"/>
            <a:chExt cx="511175" cy="652463"/>
          </a:xfrm>
          <a:solidFill>
            <a:schemeClr val="bg1"/>
          </a:solidFill>
        </p:grpSpPr>
        <p:sp>
          <p:nvSpPr>
            <p:cNvPr id="39" name="Freeform 173">
              <a:extLst>
                <a:ext uri="{FF2B5EF4-FFF2-40B4-BE49-F238E27FC236}">
                  <a16:creationId xmlns:a16="http://schemas.microsoft.com/office/drawing/2014/main" id="{8A2181E1-CDD9-4F58-9BB4-DC1229B6D753}"/>
                </a:ext>
              </a:extLst>
            </p:cNvPr>
            <p:cNvSpPr>
              <a:spLocks noEditPoints="1"/>
            </p:cNvSpPr>
            <p:nvPr/>
          </p:nvSpPr>
          <p:spPr bwMode="auto">
            <a:xfrm>
              <a:off x="412750" y="4575176"/>
              <a:ext cx="511175" cy="652463"/>
            </a:xfrm>
            <a:custGeom>
              <a:avLst/>
              <a:gdLst>
                <a:gd name="T0" fmla="*/ 748 w 856"/>
                <a:gd name="T1" fmla="*/ 639 h 1091"/>
                <a:gd name="T2" fmla="*/ 319 w 856"/>
                <a:gd name="T3" fmla="*/ 1058 h 1091"/>
                <a:gd name="T4" fmla="*/ 266 w 856"/>
                <a:gd name="T5" fmla="*/ 833 h 1091"/>
                <a:gd name="T6" fmla="*/ 153 w 856"/>
                <a:gd name="T7" fmla="*/ 833 h 1091"/>
                <a:gd name="T8" fmla="*/ 115 w 856"/>
                <a:gd name="T9" fmla="*/ 724 h 1091"/>
                <a:gd name="T10" fmla="*/ 86 w 856"/>
                <a:gd name="T11" fmla="*/ 692 h 1091"/>
                <a:gd name="T12" fmla="*/ 86 w 856"/>
                <a:gd name="T13" fmla="*/ 688 h 1091"/>
                <a:gd name="T14" fmla="*/ 111 w 856"/>
                <a:gd name="T15" fmla="*/ 664 h 1091"/>
                <a:gd name="T16" fmla="*/ 86 w 856"/>
                <a:gd name="T17" fmla="*/ 641 h 1091"/>
                <a:gd name="T18" fmla="*/ 84 w 856"/>
                <a:gd name="T19" fmla="*/ 631 h 1091"/>
                <a:gd name="T20" fmla="*/ 100 w 856"/>
                <a:gd name="T21" fmla="*/ 585 h 1091"/>
                <a:gd name="T22" fmla="*/ 46 w 856"/>
                <a:gd name="T23" fmla="*/ 540 h 1091"/>
                <a:gd name="T24" fmla="*/ 39 w 856"/>
                <a:gd name="T25" fmla="*/ 512 h 1091"/>
                <a:gd name="T26" fmla="*/ 120 w 856"/>
                <a:gd name="T27" fmla="*/ 363 h 1091"/>
                <a:gd name="T28" fmla="*/ 417 w 856"/>
                <a:gd name="T29" fmla="*/ 60 h 1091"/>
                <a:gd name="T30" fmla="*/ 796 w 856"/>
                <a:gd name="T31" fmla="*/ 531 h 1091"/>
                <a:gd name="T32" fmla="*/ 413 w 856"/>
                <a:gd name="T33" fmla="*/ 27 h 1091"/>
                <a:gd name="T34" fmla="*/ 86 w 856"/>
                <a:gd name="T35" fmla="*/ 360 h 1091"/>
                <a:gd name="T36" fmla="*/ 11 w 856"/>
                <a:gd name="T37" fmla="*/ 493 h 1091"/>
                <a:gd name="T38" fmla="*/ 31 w 856"/>
                <a:gd name="T39" fmla="*/ 570 h 1091"/>
                <a:gd name="T40" fmla="*/ 67 w 856"/>
                <a:gd name="T41" fmla="*/ 592 h 1091"/>
                <a:gd name="T42" fmla="*/ 58 w 856"/>
                <a:gd name="T43" fmla="*/ 611 h 1091"/>
                <a:gd name="T44" fmla="*/ 62 w 856"/>
                <a:gd name="T45" fmla="*/ 665 h 1091"/>
                <a:gd name="T46" fmla="*/ 65 w 856"/>
                <a:gd name="T47" fmla="*/ 718 h 1091"/>
                <a:gd name="T48" fmla="*/ 80 w 856"/>
                <a:gd name="T49" fmla="*/ 764 h 1091"/>
                <a:gd name="T50" fmla="*/ 207 w 856"/>
                <a:gd name="T51" fmla="*/ 871 h 1091"/>
                <a:gd name="T52" fmla="*/ 299 w 856"/>
                <a:gd name="T53" fmla="*/ 890 h 1091"/>
                <a:gd name="T54" fmla="*/ 282 w 856"/>
                <a:gd name="T55" fmla="*/ 1084 h 1091"/>
                <a:gd name="T56" fmla="*/ 767 w 856"/>
                <a:gd name="T57" fmla="*/ 1091 h 1091"/>
                <a:gd name="T58" fmla="*/ 783 w 856"/>
                <a:gd name="T59" fmla="*/ 1070 h 1091"/>
                <a:gd name="T60" fmla="*/ 827 w 856"/>
                <a:gd name="T61" fmla="*/ 543 h 1091"/>
                <a:gd name="T62" fmla="*/ 839 w 856"/>
                <a:gd name="T63" fmla="*/ 328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6" h="1091">
                  <a:moveTo>
                    <a:pt x="796" y="531"/>
                  </a:moveTo>
                  <a:cubicBezTo>
                    <a:pt x="778" y="575"/>
                    <a:pt x="762" y="609"/>
                    <a:pt x="748" y="639"/>
                  </a:cubicBezTo>
                  <a:cubicBezTo>
                    <a:pt x="693" y="751"/>
                    <a:pt x="674" y="791"/>
                    <a:pt x="745" y="1058"/>
                  </a:cubicBezTo>
                  <a:lnTo>
                    <a:pt x="319" y="1058"/>
                  </a:lnTo>
                  <a:cubicBezTo>
                    <a:pt x="332" y="1019"/>
                    <a:pt x="352" y="937"/>
                    <a:pt x="330" y="878"/>
                  </a:cubicBezTo>
                  <a:cubicBezTo>
                    <a:pt x="320" y="852"/>
                    <a:pt x="295" y="834"/>
                    <a:pt x="266" y="833"/>
                  </a:cubicBezTo>
                  <a:cubicBezTo>
                    <a:pt x="244" y="832"/>
                    <a:pt x="222" y="834"/>
                    <a:pt x="200" y="839"/>
                  </a:cubicBezTo>
                  <a:cubicBezTo>
                    <a:pt x="184" y="842"/>
                    <a:pt x="168" y="840"/>
                    <a:pt x="153" y="833"/>
                  </a:cubicBezTo>
                  <a:cubicBezTo>
                    <a:pt x="128" y="820"/>
                    <a:pt x="112" y="794"/>
                    <a:pt x="113" y="766"/>
                  </a:cubicBezTo>
                  <a:lnTo>
                    <a:pt x="115" y="724"/>
                  </a:lnTo>
                  <a:cubicBezTo>
                    <a:pt x="115" y="719"/>
                    <a:pt x="113" y="714"/>
                    <a:pt x="109" y="711"/>
                  </a:cubicBezTo>
                  <a:lnTo>
                    <a:pt x="86" y="692"/>
                  </a:lnTo>
                  <a:cubicBezTo>
                    <a:pt x="85" y="692"/>
                    <a:pt x="85" y="691"/>
                    <a:pt x="85" y="690"/>
                  </a:cubicBezTo>
                  <a:cubicBezTo>
                    <a:pt x="85" y="689"/>
                    <a:pt x="86" y="688"/>
                    <a:pt x="86" y="688"/>
                  </a:cubicBezTo>
                  <a:lnTo>
                    <a:pt x="102" y="679"/>
                  </a:lnTo>
                  <a:cubicBezTo>
                    <a:pt x="107" y="676"/>
                    <a:pt x="111" y="670"/>
                    <a:pt x="111" y="664"/>
                  </a:cubicBezTo>
                  <a:cubicBezTo>
                    <a:pt x="111" y="658"/>
                    <a:pt x="107" y="653"/>
                    <a:pt x="102" y="650"/>
                  </a:cubicBezTo>
                  <a:lnTo>
                    <a:pt x="86" y="641"/>
                  </a:lnTo>
                  <a:cubicBezTo>
                    <a:pt x="84" y="639"/>
                    <a:pt x="83" y="637"/>
                    <a:pt x="83" y="636"/>
                  </a:cubicBezTo>
                  <a:cubicBezTo>
                    <a:pt x="82" y="635"/>
                    <a:pt x="82" y="633"/>
                    <a:pt x="84" y="631"/>
                  </a:cubicBezTo>
                  <a:lnTo>
                    <a:pt x="92" y="621"/>
                  </a:lnTo>
                  <a:cubicBezTo>
                    <a:pt x="100" y="610"/>
                    <a:pt x="103" y="597"/>
                    <a:pt x="100" y="585"/>
                  </a:cubicBezTo>
                  <a:cubicBezTo>
                    <a:pt x="97" y="572"/>
                    <a:pt x="89" y="561"/>
                    <a:pt x="77" y="555"/>
                  </a:cubicBezTo>
                  <a:lnTo>
                    <a:pt x="46" y="540"/>
                  </a:lnTo>
                  <a:cubicBezTo>
                    <a:pt x="41" y="537"/>
                    <a:pt x="38" y="533"/>
                    <a:pt x="36" y="528"/>
                  </a:cubicBezTo>
                  <a:cubicBezTo>
                    <a:pt x="35" y="522"/>
                    <a:pt x="36" y="517"/>
                    <a:pt x="39" y="512"/>
                  </a:cubicBezTo>
                  <a:lnTo>
                    <a:pt x="98" y="425"/>
                  </a:lnTo>
                  <a:cubicBezTo>
                    <a:pt x="110" y="407"/>
                    <a:pt x="118" y="385"/>
                    <a:pt x="120" y="363"/>
                  </a:cubicBezTo>
                  <a:cubicBezTo>
                    <a:pt x="121" y="342"/>
                    <a:pt x="123" y="323"/>
                    <a:pt x="129" y="306"/>
                  </a:cubicBezTo>
                  <a:cubicBezTo>
                    <a:pt x="174" y="174"/>
                    <a:pt x="287" y="78"/>
                    <a:pt x="417" y="60"/>
                  </a:cubicBezTo>
                  <a:cubicBezTo>
                    <a:pt x="609" y="35"/>
                    <a:pt x="768" y="184"/>
                    <a:pt x="806" y="336"/>
                  </a:cubicBezTo>
                  <a:cubicBezTo>
                    <a:pt x="822" y="397"/>
                    <a:pt x="818" y="465"/>
                    <a:pt x="796" y="531"/>
                  </a:cubicBezTo>
                  <a:close/>
                  <a:moveTo>
                    <a:pt x="839" y="328"/>
                  </a:moveTo>
                  <a:cubicBezTo>
                    <a:pt x="797" y="162"/>
                    <a:pt x="622" y="0"/>
                    <a:pt x="413" y="27"/>
                  </a:cubicBezTo>
                  <a:cubicBezTo>
                    <a:pt x="270" y="46"/>
                    <a:pt x="147" y="151"/>
                    <a:pt x="98" y="295"/>
                  </a:cubicBezTo>
                  <a:cubicBezTo>
                    <a:pt x="91" y="316"/>
                    <a:pt x="88" y="337"/>
                    <a:pt x="86" y="360"/>
                  </a:cubicBezTo>
                  <a:cubicBezTo>
                    <a:pt x="85" y="377"/>
                    <a:pt x="79" y="393"/>
                    <a:pt x="70" y="407"/>
                  </a:cubicBezTo>
                  <a:lnTo>
                    <a:pt x="11" y="493"/>
                  </a:lnTo>
                  <a:cubicBezTo>
                    <a:pt x="3" y="506"/>
                    <a:pt x="0" y="521"/>
                    <a:pt x="4" y="536"/>
                  </a:cubicBezTo>
                  <a:cubicBezTo>
                    <a:pt x="8" y="550"/>
                    <a:pt x="18" y="563"/>
                    <a:pt x="31" y="570"/>
                  </a:cubicBezTo>
                  <a:lnTo>
                    <a:pt x="62" y="585"/>
                  </a:lnTo>
                  <a:cubicBezTo>
                    <a:pt x="66" y="587"/>
                    <a:pt x="67" y="590"/>
                    <a:pt x="67" y="592"/>
                  </a:cubicBezTo>
                  <a:cubicBezTo>
                    <a:pt x="68" y="594"/>
                    <a:pt x="68" y="597"/>
                    <a:pt x="65" y="600"/>
                  </a:cubicBezTo>
                  <a:lnTo>
                    <a:pt x="58" y="611"/>
                  </a:lnTo>
                  <a:cubicBezTo>
                    <a:pt x="50" y="620"/>
                    <a:pt x="48" y="632"/>
                    <a:pt x="50" y="643"/>
                  </a:cubicBezTo>
                  <a:cubicBezTo>
                    <a:pt x="52" y="651"/>
                    <a:pt x="56" y="659"/>
                    <a:pt x="62" y="665"/>
                  </a:cubicBezTo>
                  <a:cubicBezTo>
                    <a:pt x="56" y="671"/>
                    <a:pt x="53" y="679"/>
                    <a:pt x="52" y="687"/>
                  </a:cubicBezTo>
                  <a:cubicBezTo>
                    <a:pt x="51" y="699"/>
                    <a:pt x="56" y="711"/>
                    <a:pt x="65" y="718"/>
                  </a:cubicBezTo>
                  <a:lnTo>
                    <a:pt x="81" y="731"/>
                  </a:lnTo>
                  <a:lnTo>
                    <a:pt x="80" y="764"/>
                  </a:lnTo>
                  <a:cubicBezTo>
                    <a:pt x="79" y="805"/>
                    <a:pt x="101" y="844"/>
                    <a:pt x="138" y="862"/>
                  </a:cubicBezTo>
                  <a:cubicBezTo>
                    <a:pt x="160" y="873"/>
                    <a:pt x="184" y="876"/>
                    <a:pt x="207" y="871"/>
                  </a:cubicBezTo>
                  <a:cubicBezTo>
                    <a:pt x="226" y="867"/>
                    <a:pt x="246" y="865"/>
                    <a:pt x="265" y="866"/>
                  </a:cubicBezTo>
                  <a:cubicBezTo>
                    <a:pt x="280" y="867"/>
                    <a:pt x="294" y="876"/>
                    <a:pt x="299" y="890"/>
                  </a:cubicBezTo>
                  <a:cubicBezTo>
                    <a:pt x="323" y="957"/>
                    <a:pt x="281" y="1067"/>
                    <a:pt x="280" y="1068"/>
                  </a:cubicBezTo>
                  <a:cubicBezTo>
                    <a:pt x="278" y="1073"/>
                    <a:pt x="279" y="1079"/>
                    <a:pt x="282" y="1084"/>
                  </a:cubicBezTo>
                  <a:cubicBezTo>
                    <a:pt x="285" y="1088"/>
                    <a:pt x="290" y="1091"/>
                    <a:pt x="296" y="1091"/>
                  </a:cubicBezTo>
                  <a:lnTo>
                    <a:pt x="767" y="1091"/>
                  </a:lnTo>
                  <a:cubicBezTo>
                    <a:pt x="772" y="1091"/>
                    <a:pt x="777" y="1089"/>
                    <a:pt x="780" y="1084"/>
                  </a:cubicBezTo>
                  <a:cubicBezTo>
                    <a:pt x="783" y="1080"/>
                    <a:pt x="784" y="1075"/>
                    <a:pt x="783" y="1070"/>
                  </a:cubicBezTo>
                  <a:cubicBezTo>
                    <a:pt x="709" y="796"/>
                    <a:pt x="725" y="763"/>
                    <a:pt x="778" y="653"/>
                  </a:cubicBezTo>
                  <a:cubicBezTo>
                    <a:pt x="792" y="623"/>
                    <a:pt x="809" y="589"/>
                    <a:pt x="827" y="543"/>
                  </a:cubicBezTo>
                  <a:cubicBezTo>
                    <a:pt x="827" y="542"/>
                    <a:pt x="827" y="542"/>
                    <a:pt x="827" y="542"/>
                  </a:cubicBezTo>
                  <a:cubicBezTo>
                    <a:pt x="852" y="469"/>
                    <a:pt x="856" y="396"/>
                    <a:pt x="839" y="32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0" name="Freeform 174">
              <a:extLst>
                <a:ext uri="{FF2B5EF4-FFF2-40B4-BE49-F238E27FC236}">
                  <a16:creationId xmlns:a16="http://schemas.microsoft.com/office/drawing/2014/main" id="{54DFEEDB-9C31-43E3-BE20-90DFCFA91698}"/>
                </a:ext>
              </a:extLst>
            </p:cNvPr>
            <p:cNvSpPr>
              <a:spLocks noEditPoints="1"/>
            </p:cNvSpPr>
            <p:nvPr/>
          </p:nvSpPr>
          <p:spPr bwMode="auto">
            <a:xfrm>
              <a:off x="663575" y="4737101"/>
              <a:ext cx="174625" cy="123825"/>
            </a:xfrm>
            <a:custGeom>
              <a:avLst/>
              <a:gdLst>
                <a:gd name="T0" fmla="*/ 48 w 292"/>
                <a:gd name="T1" fmla="*/ 176 h 209"/>
                <a:gd name="T2" fmla="*/ 33 w 292"/>
                <a:gd name="T3" fmla="*/ 161 h 209"/>
                <a:gd name="T4" fmla="*/ 48 w 292"/>
                <a:gd name="T5" fmla="*/ 146 h 209"/>
                <a:gd name="T6" fmla="*/ 62 w 292"/>
                <a:gd name="T7" fmla="*/ 161 h 209"/>
                <a:gd name="T8" fmla="*/ 48 w 292"/>
                <a:gd name="T9" fmla="*/ 176 h 209"/>
                <a:gd name="T10" fmla="*/ 264 w 292"/>
                <a:gd name="T11" fmla="*/ 4 h 209"/>
                <a:gd name="T12" fmla="*/ 77 w 292"/>
                <a:gd name="T13" fmla="*/ 123 h 209"/>
                <a:gd name="T14" fmla="*/ 48 w 292"/>
                <a:gd name="T15" fmla="*/ 113 h 209"/>
                <a:gd name="T16" fmla="*/ 0 w 292"/>
                <a:gd name="T17" fmla="*/ 161 h 209"/>
                <a:gd name="T18" fmla="*/ 48 w 292"/>
                <a:gd name="T19" fmla="*/ 209 h 209"/>
                <a:gd name="T20" fmla="*/ 96 w 292"/>
                <a:gd name="T21" fmla="*/ 161 h 209"/>
                <a:gd name="T22" fmla="*/ 95 w 292"/>
                <a:gd name="T23" fmla="*/ 151 h 209"/>
                <a:gd name="T24" fmla="*/ 282 w 292"/>
                <a:gd name="T25" fmla="*/ 33 h 209"/>
                <a:gd name="T26" fmla="*/ 287 w 292"/>
                <a:gd name="T27" fmla="*/ 10 h 209"/>
                <a:gd name="T28" fmla="*/ 264 w 292"/>
                <a:gd name="T29"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209">
                  <a:moveTo>
                    <a:pt x="48" y="176"/>
                  </a:moveTo>
                  <a:cubicBezTo>
                    <a:pt x="40" y="176"/>
                    <a:pt x="33" y="169"/>
                    <a:pt x="33" y="161"/>
                  </a:cubicBezTo>
                  <a:cubicBezTo>
                    <a:pt x="33" y="153"/>
                    <a:pt x="40" y="146"/>
                    <a:pt x="48" y="146"/>
                  </a:cubicBezTo>
                  <a:cubicBezTo>
                    <a:pt x="56" y="146"/>
                    <a:pt x="62" y="153"/>
                    <a:pt x="62" y="161"/>
                  </a:cubicBezTo>
                  <a:cubicBezTo>
                    <a:pt x="62" y="169"/>
                    <a:pt x="56" y="176"/>
                    <a:pt x="48" y="176"/>
                  </a:cubicBezTo>
                  <a:close/>
                  <a:moveTo>
                    <a:pt x="264" y="4"/>
                  </a:moveTo>
                  <a:lnTo>
                    <a:pt x="77" y="123"/>
                  </a:lnTo>
                  <a:cubicBezTo>
                    <a:pt x="69" y="117"/>
                    <a:pt x="59" y="113"/>
                    <a:pt x="48" y="113"/>
                  </a:cubicBezTo>
                  <a:cubicBezTo>
                    <a:pt x="21" y="113"/>
                    <a:pt x="0" y="135"/>
                    <a:pt x="0" y="161"/>
                  </a:cubicBezTo>
                  <a:cubicBezTo>
                    <a:pt x="0" y="188"/>
                    <a:pt x="21" y="209"/>
                    <a:pt x="48" y="209"/>
                  </a:cubicBezTo>
                  <a:cubicBezTo>
                    <a:pt x="74" y="209"/>
                    <a:pt x="96" y="188"/>
                    <a:pt x="96" y="161"/>
                  </a:cubicBezTo>
                  <a:cubicBezTo>
                    <a:pt x="96" y="158"/>
                    <a:pt x="95" y="154"/>
                    <a:pt x="95" y="151"/>
                  </a:cubicBezTo>
                  <a:lnTo>
                    <a:pt x="282" y="33"/>
                  </a:lnTo>
                  <a:cubicBezTo>
                    <a:pt x="290" y="28"/>
                    <a:pt x="292" y="17"/>
                    <a:pt x="287" y="10"/>
                  </a:cubicBezTo>
                  <a:cubicBezTo>
                    <a:pt x="282" y="2"/>
                    <a:pt x="272" y="0"/>
                    <a:pt x="264" y="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1" name="Freeform 175">
              <a:extLst>
                <a:ext uri="{FF2B5EF4-FFF2-40B4-BE49-F238E27FC236}">
                  <a16:creationId xmlns:a16="http://schemas.microsoft.com/office/drawing/2014/main" id="{A9B205E1-813A-4DCC-86F4-BA223D4B445B}"/>
                </a:ext>
              </a:extLst>
            </p:cNvPr>
            <p:cNvSpPr>
              <a:spLocks/>
            </p:cNvSpPr>
            <p:nvPr/>
          </p:nvSpPr>
          <p:spPr bwMode="auto">
            <a:xfrm>
              <a:off x="523875" y="4664076"/>
              <a:ext cx="292100" cy="179388"/>
            </a:xfrm>
            <a:custGeom>
              <a:avLst/>
              <a:gdLst>
                <a:gd name="T0" fmla="*/ 460 w 491"/>
                <a:gd name="T1" fmla="*/ 106 h 300"/>
                <a:gd name="T2" fmla="*/ 484 w 491"/>
                <a:gd name="T3" fmla="*/ 106 h 300"/>
                <a:gd name="T4" fmla="*/ 484 w 491"/>
                <a:gd name="T5" fmla="*/ 83 h 300"/>
                <a:gd name="T6" fmla="*/ 284 w 491"/>
                <a:gd name="T7" fmla="*/ 0 h 300"/>
                <a:gd name="T8" fmla="*/ 0 w 491"/>
                <a:gd name="T9" fmla="*/ 283 h 300"/>
                <a:gd name="T10" fmla="*/ 17 w 491"/>
                <a:gd name="T11" fmla="*/ 300 h 300"/>
                <a:gd name="T12" fmla="*/ 34 w 491"/>
                <a:gd name="T13" fmla="*/ 283 h 300"/>
                <a:gd name="T14" fmla="*/ 284 w 491"/>
                <a:gd name="T15" fmla="*/ 33 h 300"/>
                <a:gd name="T16" fmla="*/ 460 w 491"/>
                <a:gd name="T17" fmla="*/ 1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300">
                  <a:moveTo>
                    <a:pt x="460" y="106"/>
                  </a:moveTo>
                  <a:cubicBezTo>
                    <a:pt x="467" y="113"/>
                    <a:pt x="478" y="113"/>
                    <a:pt x="484" y="106"/>
                  </a:cubicBezTo>
                  <a:cubicBezTo>
                    <a:pt x="491" y="100"/>
                    <a:pt x="491" y="89"/>
                    <a:pt x="484" y="83"/>
                  </a:cubicBezTo>
                  <a:cubicBezTo>
                    <a:pt x="431" y="29"/>
                    <a:pt x="359" y="0"/>
                    <a:pt x="284" y="0"/>
                  </a:cubicBezTo>
                  <a:cubicBezTo>
                    <a:pt x="127" y="0"/>
                    <a:pt x="0" y="127"/>
                    <a:pt x="0" y="283"/>
                  </a:cubicBezTo>
                  <a:cubicBezTo>
                    <a:pt x="0" y="292"/>
                    <a:pt x="8" y="300"/>
                    <a:pt x="17" y="300"/>
                  </a:cubicBezTo>
                  <a:cubicBezTo>
                    <a:pt x="26" y="300"/>
                    <a:pt x="34" y="292"/>
                    <a:pt x="34" y="283"/>
                  </a:cubicBezTo>
                  <a:cubicBezTo>
                    <a:pt x="34" y="145"/>
                    <a:pt x="146" y="33"/>
                    <a:pt x="284" y="33"/>
                  </a:cubicBezTo>
                  <a:cubicBezTo>
                    <a:pt x="351" y="33"/>
                    <a:pt x="413" y="59"/>
                    <a:pt x="460" y="10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51" name="Rectangle 111"/>
          <p:cNvSpPr/>
          <p:nvPr/>
        </p:nvSpPr>
        <p:spPr>
          <a:xfrm>
            <a:off x="677432" y="2600866"/>
            <a:ext cx="5239952" cy="213553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ltLang="ja-JP" dirty="0">
              <a:solidFill>
                <a:srgbClr val="DDDDDD">
                  <a:lumMod val="10000"/>
                </a:srgbClr>
              </a:solidFill>
            </a:endParaRPr>
          </a:p>
          <a:p>
            <a:endParaRPr lang="en-US" altLang="ja-JP" dirty="0">
              <a:solidFill>
                <a:srgbClr val="DDDDDD">
                  <a:lumMod val="10000"/>
                </a:srgbClr>
              </a:solidFill>
            </a:endParaRPr>
          </a:p>
          <a:p>
            <a:r>
              <a:rPr lang="ja-JP" altLang="es-ES" sz="1600" dirty="0">
                <a:solidFill>
                  <a:srgbClr val="DDDDDD">
                    <a:lumMod val="10000"/>
                  </a:srgbClr>
                </a:solidFill>
              </a:rPr>
              <a:t>　　　業務の洗出し、新たな業務プロセスかつ</a:t>
            </a:r>
            <a:r>
              <a:rPr lang="es-ES" altLang="ja-JP" sz="1600" dirty="0">
                <a:solidFill>
                  <a:srgbClr val="DDDDDD">
                    <a:lumMod val="10000"/>
                  </a:srgbClr>
                </a:solidFill>
              </a:rPr>
              <a:t>RPA</a:t>
            </a:r>
            <a:r>
              <a:rPr lang="ja-JP" altLang="es-ES" sz="1600" dirty="0">
                <a:solidFill>
                  <a:srgbClr val="DDDDDD">
                    <a:lumMod val="10000"/>
                  </a:srgbClr>
                </a:solidFill>
              </a:rPr>
              <a:t>・</a:t>
            </a:r>
            <a:endParaRPr lang="es-ES" altLang="ja-JP" sz="1600" dirty="0">
              <a:solidFill>
                <a:srgbClr val="DDDDDD">
                  <a:lumMod val="10000"/>
                </a:srgbClr>
              </a:solidFill>
            </a:endParaRPr>
          </a:p>
          <a:p>
            <a:r>
              <a:rPr lang="ja-JP" altLang="es-ES" sz="1600" dirty="0">
                <a:solidFill>
                  <a:srgbClr val="DDDDDD">
                    <a:lumMod val="10000"/>
                  </a:srgbClr>
                </a:solidFill>
              </a:rPr>
              <a:t>　　　</a:t>
            </a:r>
            <a:r>
              <a:rPr lang="es-ES" altLang="ja-JP" sz="1600" dirty="0">
                <a:solidFill>
                  <a:srgbClr val="DDDDDD">
                    <a:lumMod val="10000"/>
                  </a:srgbClr>
                </a:solidFill>
              </a:rPr>
              <a:t>AI</a:t>
            </a:r>
            <a:r>
              <a:rPr lang="ja-JP" altLang="es-ES" sz="1600" dirty="0">
                <a:solidFill>
                  <a:srgbClr val="DDDDDD">
                    <a:lumMod val="10000"/>
                  </a:srgbClr>
                </a:solidFill>
              </a:rPr>
              <a:t>の活用方法を定義し、</a:t>
            </a:r>
            <a:endParaRPr lang="es-ES" altLang="ja-JP" sz="1600" dirty="0">
              <a:solidFill>
                <a:srgbClr val="DDDDDD">
                  <a:lumMod val="10000"/>
                </a:srgbClr>
              </a:solidFill>
            </a:endParaRPr>
          </a:p>
          <a:p>
            <a:r>
              <a:rPr lang="ja-JP" altLang="es-ES" sz="1600" dirty="0">
                <a:solidFill>
                  <a:srgbClr val="DDDDDD">
                    <a:lumMod val="10000"/>
                  </a:srgbClr>
                </a:solidFill>
              </a:rPr>
              <a:t>　　　人を介さないプロセスを実現し業務変革を実施。</a:t>
            </a:r>
            <a:endParaRPr lang="es-ES" altLang="ja-JP" sz="1600" dirty="0">
              <a:solidFill>
                <a:srgbClr val="DDDDDD">
                  <a:lumMod val="10000"/>
                </a:srgbClr>
              </a:solidFill>
            </a:endParaRPr>
          </a:p>
        </p:txBody>
      </p:sp>
      <p:grpSp>
        <p:nvGrpSpPr>
          <p:cNvPr id="52" name="Group 14">
            <a:extLst>
              <a:ext uri="{FF2B5EF4-FFF2-40B4-BE49-F238E27FC236}">
                <a16:creationId xmlns:a16="http://schemas.microsoft.com/office/drawing/2014/main" id="{1C37A94A-2FB5-48D0-A786-B43F2FD416E0}"/>
              </a:ext>
            </a:extLst>
          </p:cNvPr>
          <p:cNvGrpSpPr/>
          <p:nvPr/>
        </p:nvGrpSpPr>
        <p:grpSpPr>
          <a:xfrm>
            <a:off x="740449" y="2636532"/>
            <a:ext cx="552985" cy="552985"/>
            <a:chOff x="761861" y="3510594"/>
            <a:chExt cx="552985" cy="552985"/>
          </a:xfrm>
        </p:grpSpPr>
        <p:sp>
          <p:nvSpPr>
            <p:cNvPr id="53"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54"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55" name="Identification">
              <a:extLst>
                <a:ext uri="{FF2B5EF4-FFF2-40B4-BE49-F238E27FC236}">
                  <a16:creationId xmlns:a16="http://schemas.microsoft.com/office/drawing/2014/main" id="{985152F4-D0AD-4849-84AF-E45ED4C87A0A}"/>
                </a:ext>
              </a:extLst>
            </p:cNvPr>
            <p:cNvSpPr>
              <a:spLocks/>
            </p:cNvSpPr>
            <p:nvPr>
              <p:custDataLst>
                <p:tags r:id="rId3"/>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42" name="Climbing2" descr="{&quot;Key&quot;:&quot;POWER_USER_SHAPE_ICON&quot;,&quot;Value&quot;:&quot;POWER_USER_SHAPE_ICON_STYLE_1&quot;}">
            <a:extLst>
              <a:ext uri="{FF2B5EF4-FFF2-40B4-BE49-F238E27FC236}">
                <a16:creationId xmlns:a16="http://schemas.microsoft.com/office/drawing/2014/main" id="{228A1D72-A9A9-445D-B6CC-F6B0A41A709F}"/>
              </a:ext>
            </a:extLst>
          </p:cNvPr>
          <p:cNvGrpSpPr>
            <a:grpSpLocks noChangeAspect="1"/>
          </p:cNvGrpSpPr>
          <p:nvPr>
            <p:custDataLst>
              <p:tags r:id="rId1"/>
            </p:custDataLst>
          </p:nvPr>
        </p:nvGrpSpPr>
        <p:grpSpPr>
          <a:xfrm>
            <a:off x="821175" y="2659456"/>
            <a:ext cx="409810" cy="504650"/>
            <a:chOff x="5856288" y="-142875"/>
            <a:chExt cx="1303337" cy="1604963"/>
          </a:xfrm>
          <a:noFill/>
        </p:grpSpPr>
        <p:sp>
          <p:nvSpPr>
            <p:cNvPr id="43" name="Freeform 342">
              <a:extLst>
                <a:ext uri="{FF2B5EF4-FFF2-40B4-BE49-F238E27FC236}">
                  <a16:creationId xmlns:a16="http://schemas.microsoft.com/office/drawing/2014/main" id="{215C6E88-CEB4-49D9-85FF-04FCE3F2A456}"/>
                </a:ext>
              </a:extLst>
            </p:cNvPr>
            <p:cNvSpPr>
              <a:spLocks/>
            </p:cNvSpPr>
            <p:nvPr/>
          </p:nvSpPr>
          <p:spPr bwMode="auto">
            <a:xfrm>
              <a:off x="6743700" y="550863"/>
              <a:ext cx="415925" cy="331788"/>
            </a:xfrm>
            <a:custGeom>
              <a:avLst/>
              <a:gdLst>
                <a:gd name="T0" fmla="*/ 89 w 547"/>
                <a:gd name="T1" fmla="*/ 401 h 435"/>
                <a:gd name="T2" fmla="*/ 0 w 547"/>
                <a:gd name="T3" fmla="*/ 230 h 435"/>
                <a:gd name="T4" fmla="*/ 224 w 547"/>
                <a:gd name="T5" fmla="*/ 251 h 435"/>
                <a:gd name="T6" fmla="*/ 333 w 547"/>
                <a:gd name="T7" fmla="*/ 195 h 435"/>
                <a:gd name="T8" fmla="*/ 446 w 547"/>
                <a:gd name="T9" fmla="*/ 0 h 435"/>
                <a:gd name="T10" fmla="*/ 534 w 547"/>
                <a:gd name="T11" fmla="*/ 170 h 435"/>
                <a:gd name="T12" fmla="*/ 513 w 547"/>
                <a:gd name="T13" fmla="*/ 238 h 435"/>
                <a:gd name="T14" fmla="*/ 156 w 547"/>
                <a:gd name="T15" fmla="*/ 422 h 435"/>
                <a:gd name="T16" fmla="*/ 89 w 547"/>
                <a:gd name="T17" fmla="*/ 4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435">
                  <a:moveTo>
                    <a:pt x="89" y="401"/>
                  </a:moveTo>
                  <a:cubicBezTo>
                    <a:pt x="67" y="358"/>
                    <a:pt x="33" y="294"/>
                    <a:pt x="0" y="230"/>
                  </a:cubicBezTo>
                  <a:cubicBezTo>
                    <a:pt x="86" y="238"/>
                    <a:pt x="165" y="246"/>
                    <a:pt x="224" y="251"/>
                  </a:cubicBezTo>
                  <a:cubicBezTo>
                    <a:pt x="264" y="255"/>
                    <a:pt x="313" y="229"/>
                    <a:pt x="333" y="195"/>
                  </a:cubicBezTo>
                  <a:cubicBezTo>
                    <a:pt x="363" y="143"/>
                    <a:pt x="403" y="74"/>
                    <a:pt x="446" y="0"/>
                  </a:cubicBezTo>
                  <a:cubicBezTo>
                    <a:pt x="479" y="64"/>
                    <a:pt x="512" y="128"/>
                    <a:pt x="534" y="170"/>
                  </a:cubicBezTo>
                  <a:cubicBezTo>
                    <a:pt x="547" y="195"/>
                    <a:pt x="537" y="225"/>
                    <a:pt x="513" y="238"/>
                  </a:cubicBezTo>
                  <a:cubicBezTo>
                    <a:pt x="430" y="280"/>
                    <a:pt x="239" y="379"/>
                    <a:pt x="156" y="422"/>
                  </a:cubicBezTo>
                  <a:cubicBezTo>
                    <a:pt x="131" y="435"/>
                    <a:pt x="101" y="425"/>
                    <a:pt x="89" y="401"/>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4" name="Freeform 343">
              <a:extLst>
                <a:ext uri="{FF2B5EF4-FFF2-40B4-BE49-F238E27FC236}">
                  <a16:creationId xmlns:a16="http://schemas.microsoft.com/office/drawing/2014/main" id="{F70D456F-3EE2-48DD-A0BE-79A5782B576D}"/>
                </a:ext>
              </a:extLst>
            </p:cNvPr>
            <p:cNvSpPr>
              <a:spLocks noEditPoints="1"/>
            </p:cNvSpPr>
            <p:nvPr/>
          </p:nvSpPr>
          <p:spPr bwMode="auto">
            <a:xfrm>
              <a:off x="6702425" y="471488"/>
              <a:ext cx="374650" cy="249238"/>
            </a:xfrm>
            <a:custGeom>
              <a:avLst/>
              <a:gdLst>
                <a:gd name="T0" fmla="*/ 163 w 491"/>
                <a:gd name="T1" fmla="*/ 142 h 327"/>
                <a:gd name="T2" fmla="*/ 204 w 491"/>
                <a:gd name="T3" fmla="*/ 79 h 327"/>
                <a:gd name="T4" fmla="*/ 280 w 491"/>
                <a:gd name="T5" fmla="*/ 82 h 327"/>
                <a:gd name="T6" fmla="*/ 163 w 491"/>
                <a:gd name="T7" fmla="*/ 142 h 327"/>
                <a:gd name="T8" fmla="*/ 12 w 491"/>
                <a:gd name="T9" fmla="*/ 278 h 327"/>
                <a:gd name="T10" fmla="*/ 25 w 491"/>
                <a:gd name="T11" fmla="*/ 303 h 327"/>
                <a:gd name="T12" fmla="*/ 271 w 491"/>
                <a:gd name="T13" fmla="*/ 326 h 327"/>
                <a:gd name="T14" fmla="*/ 325 w 491"/>
                <a:gd name="T15" fmla="*/ 314 h 327"/>
                <a:gd name="T16" fmla="*/ 367 w 491"/>
                <a:gd name="T17" fmla="*/ 276 h 327"/>
                <a:gd name="T18" fmla="*/ 491 w 491"/>
                <a:gd name="T19" fmla="*/ 62 h 327"/>
                <a:gd name="T20" fmla="*/ 478 w 491"/>
                <a:gd name="T21" fmla="*/ 37 h 327"/>
                <a:gd name="T22" fmla="*/ 409 w 491"/>
                <a:gd name="T23" fmla="*/ 15 h 327"/>
                <a:gd name="T24" fmla="*/ 323 w 491"/>
                <a:gd name="T25" fmla="*/ 59 h 327"/>
                <a:gd name="T26" fmla="*/ 308 w 491"/>
                <a:gd name="T27" fmla="*/ 53 h 327"/>
                <a:gd name="T28" fmla="*/ 186 w 491"/>
                <a:gd name="T29" fmla="*/ 43 h 327"/>
                <a:gd name="T30" fmla="*/ 123 w 491"/>
                <a:gd name="T31" fmla="*/ 148 h 327"/>
                <a:gd name="T32" fmla="*/ 119 w 491"/>
                <a:gd name="T33" fmla="*/ 165 h 327"/>
                <a:gd name="T34" fmla="*/ 33 w 491"/>
                <a:gd name="T35" fmla="*/ 209 h 327"/>
                <a:gd name="T36" fmla="*/ 12 w 491"/>
                <a:gd name="T37" fmla="*/ 27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327">
                  <a:moveTo>
                    <a:pt x="163" y="142"/>
                  </a:moveTo>
                  <a:cubicBezTo>
                    <a:pt x="164" y="120"/>
                    <a:pt x="169" y="97"/>
                    <a:pt x="204" y="79"/>
                  </a:cubicBezTo>
                  <a:cubicBezTo>
                    <a:pt x="240" y="60"/>
                    <a:pt x="261" y="70"/>
                    <a:pt x="280" y="82"/>
                  </a:cubicBezTo>
                  <a:cubicBezTo>
                    <a:pt x="242" y="101"/>
                    <a:pt x="201" y="122"/>
                    <a:pt x="163" y="142"/>
                  </a:cubicBezTo>
                  <a:close/>
                  <a:moveTo>
                    <a:pt x="12" y="278"/>
                  </a:moveTo>
                  <a:cubicBezTo>
                    <a:pt x="17" y="288"/>
                    <a:pt x="25" y="303"/>
                    <a:pt x="25" y="303"/>
                  </a:cubicBezTo>
                  <a:lnTo>
                    <a:pt x="271" y="326"/>
                  </a:lnTo>
                  <a:cubicBezTo>
                    <a:pt x="288" y="327"/>
                    <a:pt x="307" y="323"/>
                    <a:pt x="325" y="314"/>
                  </a:cubicBezTo>
                  <a:cubicBezTo>
                    <a:pt x="343" y="304"/>
                    <a:pt x="359" y="291"/>
                    <a:pt x="367" y="276"/>
                  </a:cubicBezTo>
                  <a:lnTo>
                    <a:pt x="491" y="62"/>
                  </a:lnTo>
                  <a:cubicBezTo>
                    <a:pt x="491" y="62"/>
                    <a:pt x="483" y="47"/>
                    <a:pt x="478" y="37"/>
                  </a:cubicBezTo>
                  <a:cubicBezTo>
                    <a:pt x="466" y="15"/>
                    <a:pt x="438" y="0"/>
                    <a:pt x="409" y="15"/>
                  </a:cubicBezTo>
                  <a:cubicBezTo>
                    <a:pt x="397" y="21"/>
                    <a:pt x="354" y="43"/>
                    <a:pt x="323" y="59"/>
                  </a:cubicBezTo>
                  <a:cubicBezTo>
                    <a:pt x="319" y="61"/>
                    <a:pt x="312" y="55"/>
                    <a:pt x="308" y="53"/>
                  </a:cubicBezTo>
                  <a:cubicBezTo>
                    <a:pt x="286" y="38"/>
                    <a:pt x="246" y="12"/>
                    <a:pt x="186" y="43"/>
                  </a:cubicBezTo>
                  <a:cubicBezTo>
                    <a:pt x="125" y="75"/>
                    <a:pt x="124" y="123"/>
                    <a:pt x="123" y="148"/>
                  </a:cubicBezTo>
                  <a:cubicBezTo>
                    <a:pt x="122" y="153"/>
                    <a:pt x="123" y="163"/>
                    <a:pt x="119" y="165"/>
                  </a:cubicBezTo>
                  <a:cubicBezTo>
                    <a:pt x="81" y="184"/>
                    <a:pt x="45" y="203"/>
                    <a:pt x="33" y="209"/>
                  </a:cubicBezTo>
                  <a:cubicBezTo>
                    <a:pt x="5" y="224"/>
                    <a:pt x="0" y="256"/>
                    <a:pt x="12" y="278"/>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5" name="Freeform 344">
              <a:extLst>
                <a:ext uri="{FF2B5EF4-FFF2-40B4-BE49-F238E27FC236}">
                  <a16:creationId xmlns:a16="http://schemas.microsoft.com/office/drawing/2014/main" id="{AB850D52-7610-4541-8690-94ED94618155}"/>
                </a:ext>
              </a:extLst>
            </p:cNvPr>
            <p:cNvSpPr>
              <a:spLocks noEditPoints="1"/>
            </p:cNvSpPr>
            <p:nvPr/>
          </p:nvSpPr>
          <p:spPr bwMode="auto">
            <a:xfrm>
              <a:off x="6015038" y="138113"/>
              <a:ext cx="846138" cy="1042988"/>
            </a:xfrm>
            <a:custGeom>
              <a:avLst/>
              <a:gdLst>
                <a:gd name="T0" fmla="*/ 491 w 1111"/>
                <a:gd name="T1" fmla="*/ 131 h 1370"/>
                <a:gd name="T2" fmla="*/ 504 w 1111"/>
                <a:gd name="T3" fmla="*/ 92 h 1370"/>
                <a:gd name="T4" fmla="*/ 525 w 1111"/>
                <a:gd name="T5" fmla="*/ 80 h 1370"/>
                <a:gd name="T6" fmla="*/ 550 w 1111"/>
                <a:gd name="T7" fmla="*/ 83 h 1370"/>
                <a:gd name="T8" fmla="*/ 577 w 1111"/>
                <a:gd name="T9" fmla="*/ 113 h 1370"/>
                <a:gd name="T10" fmla="*/ 576 w 1111"/>
                <a:gd name="T11" fmla="*/ 140 h 1370"/>
                <a:gd name="T12" fmla="*/ 565 w 1111"/>
                <a:gd name="T13" fmla="*/ 182 h 1370"/>
                <a:gd name="T14" fmla="*/ 673 w 1111"/>
                <a:gd name="T15" fmla="*/ 415 h 1370"/>
                <a:gd name="T16" fmla="*/ 617 w 1111"/>
                <a:gd name="T17" fmla="*/ 515 h 1370"/>
                <a:gd name="T18" fmla="*/ 525 w 1111"/>
                <a:gd name="T19" fmla="*/ 446 h 1370"/>
                <a:gd name="T20" fmla="*/ 531 w 1111"/>
                <a:gd name="T21" fmla="*/ 190 h 1370"/>
                <a:gd name="T22" fmla="*/ 503 w 1111"/>
                <a:gd name="T23" fmla="*/ 155 h 1370"/>
                <a:gd name="T24" fmla="*/ 491 w 1111"/>
                <a:gd name="T25" fmla="*/ 131 h 1370"/>
                <a:gd name="T26" fmla="*/ 374 w 1111"/>
                <a:gd name="T27" fmla="*/ 302 h 1370"/>
                <a:gd name="T28" fmla="*/ 442 w 1111"/>
                <a:gd name="T29" fmla="*/ 621 h 1370"/>
                <a:gd name="T30" fmla="*/ 303 w 1111"/>
                <a:gd name="T31" fmla="*/ 656 h 1370"/>
                <a:gd name="T32" fmla="*/ 266 w 1111"/>
                <a:gd name="T33" fmla="*/ 764 h 1370"/>
                <a:gd name="T34" fmla="*/ 357 w 1111"/>
                <a:gd name="T35" fmla="*/ 1000 h 1370"/>
                <a:gd name="T36" fmla="*/ 305 w 1111"/>
                <a:gd name="T37" fmla="*/ 1023 h 1370"/>
                <a:gd name="T38" fmla="*/ 315 w 1111"/>
                <a:gd name="T39" fmla="*/ 1080 h 1370"/>
                <a:gd name="T40" fmla="*/ 458 w 1111"/>
                <a:gd name="T41" fmla="*/ 1080 h 1370"/>
                <a:gd name="T42" fmla="*/ 495 w 1111"/>
                <a:gd name="T43" fmla="*/ 1020 h 1370"/>
                <a:gd name="T44" fmla="*/ 442 w 1111"/>
                <a:gd name="T45" fmla="*/ 800 h 1370"/>
                <a:gd name="T46" fmla="*/ 674 w 1111"/>
                <a:gd name="T47" fmla="*/ 787 h 1370"/>
                <a:gd name="T48" fmla="*/ 788 w 1111"/>
                <a:gd name="T49" fmla="*/ 1283 h 1370"/>
                <a:gd name="T50" fmla="*/ 739 w 1111"/>
                <a:gd name="T51" fmla="*/ 1311 h 1370"/>
                <a:gd name="T52" fmla="*/ 751 w 1111"/>
                <a:gd name="T53" fmla="*/ 1370 h 1370"/>
                <a:gd name="T54" fmla="*/ 894 w 1111"/>
                <a:gd name="T55" fmla="*/ 1370 h 1370"/>
                <a:gd name="T56" fmla="*/ 930 w 1111"/>
                <a:gd name="T57" fmla="*/ 1314 h 1370"/>
                <a:gd name="T58" fmla="*/ 753 w 1111"/>
                <a:gd name="T59" fmla="*/ 222 h 1370"/>
                <a:gd name="T60" fmla="*/ 903 w 1111"/>
                <a:gd name="T61" fmla="*/ 286 h 1370"/>
                <a:gd name="T62" fmla="*/ 992 w 1111"/>
                <a:gd name="T63" fmla="*/ 436 h 1370"/>
                <a:gd name="T64" fmla="*/ 1046 w 1111"/>
                <a:gd name="T65" fmla="*/ 458 h 1370"/>
                <a:gd name="T66" fmla="*/ 1093 w 1111"/>
                <a:gd name="T67" fmla="*/ 433 h 1370"/>
                <a:gd name="T68" fmla="*/ 1094 w 1111"/>
                <a:gd name="T69" fmla="*/ 371 h 1370"/>
                <a:gd name="T70" fmla="*/ 1027 w 1111"/>
                <a:gd name="T71" fmla="*/ 236 h 1370"/>
                <a:gd name="T72" fmla="*/ 941 w 1111"/>
                <a:gd name="T73" fmla="*/ 142 h 1370"/>
                <a:gd name="T74" fmla="*/ 793 w 1111"/>
                <a:gd name="T75" fmla="*/ 48 h 1370"/>
                <a:gd name="T76" fmla="*/ 669 w 1111"/>
                <a:gd name="T77" fmla="*/ 9 h 1370"/>
                <a:gd name="T78" fmla="*/ 517 w 1111"/>
                <a:gd name="T79" fmla="*/ 40 h 1370"/>
                <a:gd name="T80" fmla="*/ 365 w 1111"/>
                <a:gd name="T81" fmla="*/ 72 h 1370"/>
                <a:gd name="T82" fmla="*/ 259 w 1111"/>
                <a:gd name="T83" fmla="*/ 175 h 1370"/>
                <a:gd name="T84" fmla="*/ 204 w 1111"/>
                <a:gd name="T85" fmla="*/ 272 h 1370"/>
                <a:gd name="T86" fmla="*/ 117 w 1111"/>
                <a:gd name="T87" fmla="*/ 177 h 1370"/>
                <a:gd name="T88" fmla="*/ 59 w 1111"/>
                <a:gd name="T89" fmla="*/ 154 h 1370"/>
                <a:gd name="T90" fmla="*/ 18 w 1111"/>
                <a:gd name="T91" fmla="*/ 189 h 1370"/>
                <a:gd name="T92" fmla="*/ 19 w 1111"/>
                <a:gd name="T93" fmla="*/ 247 h 1370"/>
                <a:gd name="T94" fmla="*/ 158 w 1111"/>
                <a:gd name="T95" fmla="*/ 420 h 1370"/>
                <a:gd name="T96" fmla="*/ 286 w 1111"/>
                <a:gd name="T97" fmla="*/ 414 h 1370"/>
                <a:gd name="T98" fmla="*/ 374 w 1111"/>
                <a:gd name="T99" fmla="*/ 30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370">
                  <a:moveTo>
                    <a:pt x="491" y="131"/>
                  </a:moveTo>
                  <a:cubicBezTo>
                    <a:pt x="495" y="121"/>
                    <a:pt x="499" y="107"/>
                    <a:pt x="504" y="92"/>
                  </a:cubicBezTo>
                  <a:cubicBezTo>
                    <a:pt x="506" y="86"/>
                    <a:pt x="515" y="82"/>
                    <a:pt x="525" y="80"/>
                  </a:cubicBezTo>
                  <a:cubicBezTo>
                    <a:pt x="536" y="78"/>
                    <a:pt x="545" y="78"/>
                    <a:pt x="550" y="83"/>
                  </a:cubicBezTo>
                  <a:cubicBezTo>
                    <a:pt x="561" y="94"/>
                    <a:pt x="570" y="105"/>
                    <a:pt x="577" y="113"/>
                  </a:cubicBezTo>
                  <a:cubicBezTo>
                    <a:pt x="586" y="123"/>
                    <a:pt x="583" y="131"/>
                    <a:pt x="576" y="140"/>
                  </a:cubicBezTo>
                  <a:cubicBezTo>
                    <a:pt x="563" y="157"/>
                    <a:pt x="557" y="165"/>
                    <a:pt x="565" y="182"/>
                  </a:cubicBezTo>
                  <a:cubicBezTo>
                    <a:pt x="578" y="214"/>
                    <a:pt x="662" y="390"/>
                    <a:pt x="673" y="415"/>
                  </a:cubicBezTo>
                  <a:cubicBezTo>
                    <a:pt x="666" y="440"/>
                    <a:pt x="628" y="512"/>
                    <a:pt x="617" y="515"/>
                  </a:cubicBezTo>
                  <a:cubicBezTo>
                    <a:pt x="605" y="517"/>
                    <a:pt x="542" y="466"/>
                    <a:pt x="525" y="446"/>
                  </a:cubicBezTo>
                  <a:cubicBezTo>
                    <a:pt x="525" y="419"/>
                    <a:pt x="532" y="224"/>
                    <a:pt x="531" y="190"/>
                  </a:cubicBezTo>
                  <a:cubicBezTo>
                    <a:pt x="530" y="170"/>
                    <a:pt x="522" y="165"/>
                    <a:pt x="503" y="155"/>
                  </a:cubicBezTo>
                  <a:cubicBezTo>
                    <a:pt x="494" y="150"/>
                    <a:pt x="487" y="143"/>
                    <a:pt x="491" y="131"/>
                  </a:cubicBezTo>
                  <a:close/>
                  <a:moveTo>
                    <a:pt x="374" y="302"/>
                  </a:moveTo>
                  <a:cubicBezTo>
                    <a:pt x="381" y="337"/>
                    <a:pt x="411" y="476"/>
                    <a:pt x="442" y="621"/>
                  </a:cubicBezTo>
                  <a:cubicBezTo>
                    <a:pt x="395" y="633"/>
                    <a:pt x="336" y="648"/>
                    <a:pt x="303" y="656"/>
                  </a:cubicBezTo>
                  <a:cubicBezTo>
                    <a:pt x="262" y="667"/>
                    <a:pt x="250" y="722"/>
                    <a:pt x="266" y="764"/>
                  </a:cubicBezTo>
                  <a:cubicBezTo>
                    <a:pt x="315" y="895"/>
                    <a:pt x="335" y="944"/>
                    <a:pt x="357" y="1000"/>
                  </a:cubicBezTo>
                  <a:cubicBezTo>
                    <a:pt x="357" y="1010"/>
                    <a:pt x="333" y="1014"/>
                    <a:pt x="305" y="1023"/>
                  </a:cubicBezTo>
                  <a:cubicBezTo>
                    <a:pt x="277" y="1032"/>
                    <a:pt x="295" y="1080"/>
                    <a:pt x="315" y="1080"/>
                  </a:cubicBezTo>
                  <a:lnTo>
                    <a:pt x="458" y="1080"/>
                  </a:lnTo>
                  <a:cubicBezTo>
                    <a:pt x="476" y="1080"/>
                    <a:pt x="499" y="1064"/>
                    <a:pt x="495" y="1020"/>
                  </a:cubicBezTo>
                  <a:cubicBezTo>
                    <a:pt x="492" y="974"/>
                    <a:pt x="472" y="900"/>
                    <a:pt x="442" y="800"/>
                  </a:cubicBezTo>
                  <a:cubicBezTo>
                    <a:pt x="474" y="797"/>
                    <a:pt x="595" y="795"/>
                    <a:pt x="674" y="787"/>
                  </a:cubicBezTo>
                  <a:cubicBezTo>
                    <a:pt x="722" y="979"/>
                    <a:pt x="776" y="1201"/>
                    <a:pt x="788" y="1283"/>
                  </a:cubicBezTo>
                  <a:cubicBezTo>
                    <a:pt x="789" y="1293"/>
                    <a:pt x="764" y="1301"/>
                    <a:pt x="739" y="1311"/>
                  </a:cubicBezTo>
                  <a:cubicBezTo>
                    <a:pt x="699" y="1327"/>
                    <a:pt x="733" y="1370"/>
                    <a:pt x="751" y="1370"/>
                  </a:cubicBezTo>
                  <a:lnTo>
                    <a:pt x="894" y="1370"/>
                  </a:lnTo>
                  <a:cubicBezTo>
                    <a:pt x="913" y="1370"/>
                    <a:pt x="930" y="1362"/>
                    <a:pt x="930" y="1314"/>
                  </a:cubicBezTo>
                  <a:cubicBezTo>
                    <a:pt x="930" y="1212"/>
                    <a:pt x="775" y="323"/>
                    <a:pt x="753" y="222"/>
                  </a:cubicBezTo>
                  <a:cubicBezTo>
                    <a:pt x="808" y="244"/>
                    <a:pt x="849" y="259"/>
                    <a:pt x="903" y="286"/>
                  </a:cubicBezTo>
                  <a:cubicBezTo>
                    <a:pt x="935" y="338"/>
                    <a:pt x="965" y="390"/>
                    <a:pt x="992" y="436"/>
                  </a:cubicBezTo>
                  <a:cubicBezTo>
                    <a:pt x="1007" y="461"/>
                    <a:pt x="1024" y="469"/>
                    <a:pt x="1046" y="458"/>
                  </a:cubicBezTo>
                  <a:cubicBezTo>
                    <a:pt x="1064" y="450"/>
                    <a:pt x="1076" y="443"/>
                    <a:pt x="1093" y="433"/>
                  </a:cubicBezTo>
                  <a:cubicBezTo>
                    <a:pt x="1105" y="427"/>
                    <a:pt x="1111" y="406"/>
                    <a:pt x="1094" y="371"/>
                  </a:cubicBezTo>
                  <a:cubicBezTo>
                    <a:pt x="1070" y="323"/>
                    <a:pt x="1048" y="279"/>
                    <a:pt x="1027" y="236"/>
                  </a:cubicBezTo>
                  <a:cubicBezTo>
                    <a:pt x="1001" y="182"/>
                    <a:pt x="968" y="160"/>
                    <a:pt x="941" y="142"/>
                  </a:cubicBezTo>
                  <a:cubicBezTo>
                    <a:pt x="893" y="111"/>
                    <a:pt x="845" y="80"/>
                    <a:pt x="793" y="48"/>
                  </a:cubicBezTo>
                  <a:cubicBezTo>
                    <a:pt x="733" y="11"/>
                    <a:pt x="714" y="0"/>
                    <a:pt x="669" y="9"/>
                  </a:cubicBezTo>
                  <a:cubicBezTo>
                    <a:pt x="643" y="13"/>
                    <a:pt x="583" y="27"/>
                    <a:pt x="517" y="40"/>
                  </a:cubicBezTo>
                  <a:cubicBezTo>
                    <a:pt x="452" y="54"/>
                    <a:pt x="391" y="67"/>
                    <a:pt x="365" y="72"/>
                  </a:cubicBezTo>
                  <a:cubicBezTo>
                    <a:pt x="315" y="83"/>
                    <a:pt x="294" y="114"/>
                    <a:pt x="259" y="175"/>
                  </a:cubicBezTo>
                  <a:cubicBezTo>
                    <a:pt x="240" y="208"/>
                    <a:pt x="222" y="241"/>
                    <a:pt x="204" y="272"/>
                  </a:cubicBezTo>
                  <a:cubicBezTo>
                    <a:pt x="179" y="247"/>
                    <a:pt x="193" y="262"/>
                    <a:pt x="117" y="177"/>
                  </a:cubicBezTo>
                  <a:cubicBezTo>
                    <a:pt x="91" y="147"/>
                    <a:pt x="69" y="145"/>
                    <a:pt x="59" y="154"/>
                  </a:cubicBezTo>
                  <a:cubicBezTo>
                    <a:pt x="44" y="167"/>
                    <a:pt x="33" y="175"/>
                    <a:pt x="18" y="189"/>
                  </a:cubicBezTo>
                  <a:cubicBezTo>
                    <a:pt x="0" y="205"/>
                    <a:pt x="1" y="224"/>
                    <a:pt x="19" y="247"/>
                  </a:cubicBezTo>
                  <a:cubicBezTo>
                    <a:pt x="42" y="276"/>
                    <a:pt x="131" y="389"/>
                    <a:pt x="158" y="420"/>
                  </a:cubicBezTo>
                  <a:cubicBezTo>
                    <a:pt x="189" y="455"/>
                    <a:pt x="245" y="460"/>
                    <a:pt x="286" y="414"/>
                  </a:cubicBezTo>
                  <a:cubicBezTo>
                    <a:pt x="305" y="392"/>
                    <a:pt x="350" y="334"/>
                    <a:pt x="374" y="302"/>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6" name="Freeform 345">
              <a:extLst>
                <a:ext uri="{FF2B5EF4-FFF2-40B4-BE49-F238E27FC236}">
                  <a16:creationId xmlns:a16="http://schemas.microsoft.com/office/drawing/2014/main" id="{2758794E-03FC-49C6-A314-FB01B823F6C4}"/>
                </a:ext>
              </a:extLst>
            </p:cNvPr>
            <p:cNvSpPr>
              <a:spLocks/>
            </p:cNvSpPr>
            <p:nvPr/>
          </p:nvSpPr>
          <p:spPr bwMode="auto">
            <a:xfrm>
              <a:off x="6253163" y="-142875"/>
              <a:ext cx="239713" cy="282575"/>
            </a:xfrm>
            <a:custGeom>
              <a:avLst/>
              <a:gdLst>
                <a:gd name="T0" fmla="*/ 193 w 314"/>
                <a:gd name="T1" fmla="*/ 355 h 371"/>
                <a:gd name="T2" fmla="*/ 20 w 314"/>
                <a:gd name="T3" fmla="*/ 214 h 371"/>
                <a:gd name="T4" fmla="*/ 121 w 314"/>
                <a:gd name="T5" fmla="*/ 16 h 371"/>
                <a:gd name="T6" fmla="*/ 294 w 314"/>
                <a:gd name="T7" fmla="*/ 156 h 371"/>
                <a:gd name="T8" fmla="*/ 193 w 314"/>
                <a:gd name="T9" fmla="*/ 355 h 371"/>
              </a:gdLst>
              <a:ahLst/>
              <a:cxnLst>
                <a:cxn ang="0">
                  <a:pos x="T0" y="T1"/>
                </a:cxn>
                <a:cxn ang="0">
                  <a:pos x="T2" y="T3"/>
                </a:cxn>
                <a:cxn ang="0">
                  <a:pos x="T4" y="T5"/>
                </a:cxn>
                <a:cxn ang="0">
                  <a:pos x="T6" y="T7"/>
                </a:cxn>
                <a:cxn ang="0">
                  <a:pos x="T8" y="T9"/>
                </a:cxn>
              </a:cxnLst>
              <a:rect l="0" t="0" r="r" b="b"/>
              <a:pathLst>
                <a:path w="314" h="371">
                  <a:moveTo>
                    <a:pt x="193" y="355"/>
                  </a:moveTo>
                  <a:cubicBezTo>
                    <a:pt x="117" y="371"/>
                    <a:pt x="39" y="308"/>
                    <a:pt x="20" y="214"/>
                  </a:cubicBezTo>
                  <a:cubicBezTo>
                    <a:pt x="0" y="121"/>
                    <a:pt x="46" y="32"/>
                    <a:pt x="121" y="16"/>
                  </a:cubicBezTo>
                  <a:cubicBezTo>
                    <a:pt x="197" y="0"/>
                    <a:pt x="275" y="63"/>
                    <a:pt x="294" y="156"/>
                  </a:cubicBezTo>
                  <a:cubicBezTo>
                    <a:pt x="314" y="250"/>
                    <a:pt x="269" y="339"/>
                    <a:pt x="193" y="355"/>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7" name="Freeform 346">
              <a:extLst>
                <a:ext uri="{FF2B5EF4-FFF2-40B4-BE49-F238E27FC236}">
                  <a16:creationId xmlns:a16="http://schemas.microsoft.com/office/drawing/2014/main" id="{F769B017-E350-447E-B7ED-9CEFD9967CCE}"/>
                </a:ext>
              </a:extLst>
            </p:cNvPr>
            <p:cNvSpPr>
              <a:spLocks/>
            </p:cNvSpPr>
            <p:nvPr/>
          </p:nvSpPr>
          <p:spPr bwMode="auto">
            <a:xfrm>
              <a:off x="5856288" y="765175"/>
              <a:ext cx="1203325" cy="696913"/>
            </a:xfrm>
            <a:custGeom>
              <a:avLst/>
              <a:gdLst>
                <a:gd name="T0" fmla="*/ 1131 w 1580"/>
                <a:gd name="T1" fmla="*/ 883 h 914"/>
                <a:gd name="T2" fmla="*/ 1131 w 1580"/>
                <a:gd name="T3" fmla="*/ 629 h 914"/>
                <a:gd name="T4" fmla="*/ 774 w 1580"/>
                <a:gd name="T5" fmla="*/ 629 h 914"/>
                <a:gd name="T6" fmla="*/ 743 w 1580"/>
                <a:gd name="T7" fmla="*/ 599 h 914"/>
                <a:gd name="T8" fmla="*/ 743 w 1580"/>
                <a:gd name="T9" fmla="*/ 345 h 914"/>
                <a:gd name="T10" fmla="*/ 386 w 1580"/>
                <a:gd name="T11" fmla="*/ 345 h 914"/>
                <a:gd name="T12" fmla="*/ 386 w 1580"/>
                <a:gd name="T13" fmla="*/ 345 h 914"/>
                <a:gd name="T14" fmla="*/ 355 w 1580"/>
                <a:gd name="T15" fmla="*/ 315 h 914"/>
                <a:gd name="T16" fmla="*/ 355 w 1580"/>
                <a:gd name="T17" fmla="*/ 61 h 914"/>
                <a:gd name="T18" fmla="*/ 31 w 1580"/>
                <a:gd name="T19" fmla="*/ 61 h 914"/>
                <a:gd name="T20" fmla="*/ 0 w 1580"/>
                <a:gd name="T21" fmla="*/ 30 h 914"/>
                <a:gd name="T22" fmla="*/ 31 w 1580"/>
                <a:gd name="T23" fmla="*/ 0 h 914"/>
                <a:gd name="T24" fmla="*/ 386 w 1580"/>
                <a:gd name="T25" fmla="*/ 0 h 914"/>
                <a:gd name="T26" fmla="*/ 416 w 1580"/>
                <a:gd name="T27" fmla="*/ 30 h 914"/>
                <a:gd name="T28" fmla="*/ 416 w 1580"/>
                <a:gd name="T29" fmla="*/ 284 h 914"/>
                <a:gd name="T30" fmla="*/ 774 w 1580"/>
                <a:gd name="T31" fmla="*/ 284 h 914"/>
                <a:gd name="T32" fmla="*/ 804 w 1580"/>
                <a:gd name="T33" fmla="*/ 315 h 914"/>
                <a:gd name="T34" fmla="*/ 804 w 1580"/>
                <a:gd name="T35" fmla="*/ 568 h 914"/>
                <a:gd name="T36" fmla="*/ 1162 w 1580"/>
                <a:gd name="T37" fmla="*/ 568 h 914"/>
                <a:gd name="T38" fmla="*/ 1192 w 1580"/>
                <a:gd name="T39" fmla="*/ 599 h 914"/>
                <a:gd name="T40" fmla="*/ 1192 w 1580"/>
                <a:gd name="T41" fmla="*/ 853 h 914"/>
                <a:gd name="T42" fmla="*/ 1550 w 1580"/>
                <a:gd name="T43" fmla="*/ 853 h 914"/>
                <a:gd name="T44" fmla="*/ 1580 w 1580"/>
                <a:gd name="T45" fmla="*/ 883 h 914"/>
                <a:gd name="T46" fmla="*/ 1544 w 1580"/>
                <a:gd name="T47" fmla="*/ 914 h 914"/>
                <a:gd name="T48" fmla="*/ 1162 w 1580"/>
                <a:gd name="T49" fmla="*/ 914 h 914"/>
                <a:gd name="T50" fmla="*/ 1131 w 1580"/>
                <a:gd name="T51" fmla="*/ 8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0" h="914">
                  <a:moveTo>
                    <a:pt x="1131" y="883"/>
                  </a:moveTo>
                  <a:lnTo>
                    <a:pt x="1131" y="629"/>
                  </a:lnTo>
                  <a:lnTo>
                    <a:pt x="774" y="629"/>
                  </a:lnTo>
                  <a:cubicBezTo>
                    <a:pt x="757" y="629"/>
                    <a:pt x="743" y="616"/>
                    <a:pt x="743" y="599"/>
                  </a:cubicBezTo>
                  <a:lnTo>
                    <a:pt x="743" y="345"/>
                  </a:lnTo>
                  <a:lnTo>
                    <a:pt x="386" y="345"/>
                  </a:lnTo>
                  <a:lnTo>
                    <a:pt x="386" y="345"/>
                  </a:lnTo>
                  <a:cubicBezTo>
                    <a:pt x="369" y="345"/>
                    <a:pt x="355" y="331"/>
                    <a:pt x="355" y="315"/>
                  </a:cubicBezTo>
                  <a:lnTo>
                    <a:pt x="355" y="61"/>
                  </a:lnTo>
                  <a:lnTo>
                    <a:pt x="31" y="61"/>
                  </a:lnTo>
                  <a:cubicBezTo>
                    <a:pt x="14" y="61"/>
                    <a:pt x="0" y="47"/>
                    <a:pt x="0" y="30"/>
                  </a:cubicBezTo>
                  <a:cubicBezTo>
                    <a:pt x="0" y="13"/>
                    <a:pt x="14" y="0"/>
                    <a:pt x="31" y="0"/>
                  </a:cubicBezTo>
                  <a:lnTo>
                    <a:pt x="386" y="0"/>
                  </a:lnTo>
                  <a:cubicBezTo>
                    <a:pt x="402" y="0"/>
                    <a:pt x="416" y="13"/>
                    <a:pt x="416" y="30"/>
                  </a:cubicBezTo>
                  <a:lnTo>
                    <a:pt x="416" y="284"/>
                  </a:lnTo>
                  <a:lnTo>
                    <a:pt x="774" y="284"/>
                  </a:lnTo>
                  <a:cubicBezTo>
                    <a:pt x="790" y="284"/>
                    <a:pt x="804" y="298"/>
                    <a:pt x="804" y="315"/>
                  </a:cubicBezTo>
                  <a:lnTo>
                    <a:pt x="804" y="568"/>
                  </a:lnTo>
                  <a:lnTo>
                    <a:pt x="1162" y="568"/>
                  </a:lnTo>
                  <a:cubicBezTo>
                    <a:pt x="1179" y="568"/>
                    <a:pt x="1192" y="582"/>
                    <a:pt x="1192" y="599"/>
                  </a:cubicBezTo>
                  <a:lnTo>
                    <a:pt x="1192" y="853"/>
                  </a:lnTo>
                  <a:lnTo>
                    <a:pt x="1550" y="853"/>
                  </a:lnTo>
                  <a:cubicBezTo>
                    <a:pt x="1567" y="853"/>
                    <a:pt x="1580" y="866"/>
                    <a:pt x="1580" y="883"/>
                  </a:cubicBezTo>
                  <a:cubicBezTo>
                    <a:pt x="1580" y="899"/>
                    <a:pt x="1568" y="914"/>
                    <a:pt x="1544" y="914"/>
                  </a:cubicBezTo>
                  <a:lnTo>
                    <a:pt x="1162" y="914"/>
                  </a:lnTo>
                  <a:cubicBezTo>
                    <a:pt x="1145" y="914"/>
                    <a:pt x="1131" y="900"/>
                    <a:pt x="1131" y="883"/>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60" name="Rectángulo 59"/>
          <p:cNvSpPr/>
          <p:nvPr/>
        </p:nvSpPr>
        <p:spPr>
          <a:xfrm>
            <a:off x="1314036" y="2674632"/>
            <a:ext cx="1893983" cy="369332"/>
          </a:xfrm>
          <a:prstGeom prst="rect">
            <a:avLst/>
          </a:prstGeom>
        </p:spPr>
        <p:txBody>
          <a:bodyPr wrap="squar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概要と期待効果</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grpSp>
        <p:nvGrpSpPr>
          <p:cNvPr id="66" name="Group 14">
            <a:extLst>
              <a:ext uri="{FF2B5EF4-FFF2-40B4-BE49-F238E27FC236}">
                <a16:creationId xmlns:a16="http://schemas.microsoft.com/office/drawing/2014/main" id="{1C37A94A-2FB5-48D0-A786-B43F2FD416E0}"/>
              </a:ext>
            </a:extLst>
          </p:cNvPr>
          <p:cNvGrpSpPr/>
          <p:nvPr/>
        </p:nvGrpSpPr>
        <p:grpSpPr>
          <a:xfrm>
            <a:off x="6069685" y="1464235"/>
            <a:ext cx="552985" cy="552985"/>
            <a:chOff x="761861" y="3510594"/>
            <a:chExt cx="552985" cy="552985"/>
          </a:xfrm>
        </p:grpSpPr>
        <p:sp>
          <p:nvSpPr>
            <p:cNvPr id="67"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68"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69" name="Identification">
              <a:extLst>
                <a:ext uri="{FF2B5EF4-FFF2-40B4-BE49-F238E27FC236}">
                  <a16:creationId xmlns:a16="http://schemas.microsoft.com/office/drawing/2014/main" id="{985152F4-D0AD-4849-84AF-E45ED4C87A0A}"/>
                </a:ext>
              </a:extLst>
            </p:cNvPr>
            <p:cNvSpPr>
              <a:spLocks/>
            </p:cNvSpPr>
            <p:nvPr>
              <p:custDataLst>
                <p:tags r:id="rId2"/>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76" name="Rectángulo 75"/>
          <p:cNvSpPr/>
          <p:nvPr/>
        </p:nvSpPr>
        <p:spPr>
          <a:xfrm>
            <a:off x="6636559" y="1464235"/>
            <a:ext cx="3599062" cy="369332"/>
          </a:xfrm>
          <a:prstGeom prst="rect">
            <a:avLst/>
          </a:prstGeom>
        </p:spPr>
        <p:txBody>
          <a:bodyPr wrap="non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自動化された業務の紹介</a:t>
            </a:r>
            <a:r>
              <a:rPr lang="ja-JP" altLang="es-ES" b="1" dirty="0">
                <a:solidFill>
                  <a:prstClr val="black"/>
                </a:solidFill>
                <a:latin typeface="ＭＳ Ｐゴシック" panose="020B0600070205080204" pitchFamily="50" charset="-128"/>
                <a:ea typeface="ＭＳ Ｐゴシック" panose="020B0600070205080204" pitchFamily="50" charset="-128"/>
              </a:rPr>
              <a:t>（抜粋例）</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grpSp>
        <p:nvGrpSpPr>
          <p:cNvPr id="83" name="Reload" descr="{&quot;Key&quot;:&quot;POWER_USER_SHAPE_ICON&quot;,&quot;Value&quot;:&quot;POWER_USER_SHAPE_ICON_STYLE_1&quot;}">
            <a:extLst>
              <a:ext uri="{FF2B5EF4-FFF2-40B4-BE49-F238E27FC236}">
                <a16:creationId xmlns:a16="http://schemas.microsoft.com/office/drawing/2014/main" id="{B7E41015-6448-458A-847D-85999440ADC4}"/>
              </a:ext>
            </a:extLst>
          </p:cNvPr>
          <p:cNvGrpSpPr>
            <a:grpSpLocks noChangeAspect="1"/>
          </p:cNvGrpSpPr>
          <p:nvPr/>
        </p:nvGrpSpPr>
        <p:grpSpPr>
          <a:xfrm>
            <a:off x="6203386" y="1541226"/>
            <a:ext cx="310779" cy="359246"/>
            <a:chOff x="10224666" y="2948305"/>
            <a:chExt cx="122586" cy="141705"/>
          </a:xfrm>
          <a:solidFill>
            <a:schemeClr val="bg1"/>
          </a:solidFill>
        </p:grpSpPr>
        <p:sp>
          <p:nvSpPr>
            <p:cNvPr id="84" name="Freeform 142">
              <a:extLst>
                <a:ext uri="{FF2B5EF4-FFF2-40B4-BE49-F238E27FC236}">
                  <a16:creationId xmlns:a16="http://schemas.microsoft.com/office/drawing/2014/main" id="{2F8EB3B7-807C-400B-87FC-1194C7B03222}"/>
                </a:ext>
              </a:extLst>
            </p:cNvPr>
            <p:cNvSpPr>
              <a:spLocks noChangeAspect="1"/>
            </p:cNvSpPr>
            <p:nvPr/>
          </p:nvSpPr>
          <p:spPr bwMode="auto">
            <a:xfrm>
              <a:off x="10224666" y="2965928"/>
              <a:ext cx="122586" cy="124082"/>
            </a:xfrm>
            <a:custGeom>
              <a:avLst/>
              <a:gdLst>
                <a:gd name="T0" fmla="*/ 107 w 213"/>
                <a:gd name="T1" fmla="*/ 214 h 214"/>
                <a:gd name="T2" fmla="*/ 0 w 213"/>
                <a:gd name="T3" fmla="*/ 107 h 214"/>
                <a:gd name="T4" fmla="*/ 107 w 213"/>
                <a:gd name="T5" fmla="*/ 0 h 214"/>
                <a:gd name="T6" fmla="*/ 156 w 213"/>
                <a:gd name="T7" fmla="*/ 12 h 214"/>
                <a:gd name="T8" fmla="*/ 148 w 213"/>
                <a:gd name="T9" fmla="*/ 27 h 214"/>
                <a:gd name="T10" fmla="*/ 107 w 213"/>
                <a:gd name="T11" fmla="*/ 17 h 214"/>
                <a:gd name="T12" fmla="*/ 17 w 213"/>
                <a:gd name="T13" fmla="*/ 107 h 214"/>
                <a:gd name="T14" fmla="*/ 107 w 213"/>
                <a:gd name="T15" fmla="*/ 197 h 214"/>
                <a:gd name="T16" fmla="*/ 197 w 213"/>
                <a:gd name="T17" fmla="*/ 107 h 214"/>
                <a:gd name="T18" fmla="*/ 170 w 213"/>
                <a:gd name="T19" fmla="*/ 43 h 214"/>
                <a:gd name="T20" fmla="*/ 182 w 213"/>
                <a:gd name="T21" fmla="*/ 32 h 214"/>
                <a:gd name="T22" fmla="*/ 213 w 213"/>
                <a:gd name="T23" fmla="*/ 107 h 214"/>
                <a:gd name="T24" fmla="*/ 107 w 213"/>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14">
                  <a:moveTo>
                    <a:pt x="107" y="214"/>
                  </a:moveTo>
                  <a:cubicBezTo>
                    <a:pt x="48" y="214"/>
                    <a:pt x="0" y="166"/>
                    <a:pt x="0" y="107"/>
                  </a:cubicBezTo>
                  <a:cubicBezTo>
                    <a:pt x="0" y="48"/>
                    <a:pt x="48" y="0"/>
                    <a:pt x="107" y="0"/>
                  </a:cubicBezTo>
                  <a:cubicBezTo>
                    <a:pt x="124" y="0"/>
                    <a:pt x="141" y="5"/>
                    <a:pt x="156" y="12"/>
                  </a:cubicBezTo>
                  <a:lnTo>
                    <a:pt x="148" y="27"/>
                  </a:lnTo>
                  <a:cubicBezTo>
                    <a:pt x="135" y="20"/>
                    <a:pt x="121" y="17"/>
                    <a:pt x="107" y="17"/>
                  </a:cubicBezTo>
                  <a:cubicBezTo>
                    <a:pt x="57" y="17"/>
                    <a:pt x="17" y="57"/>
                    <a:pt x="17" y="107"/>
                  </a:cubicBezTo>
                  <a:cubicBezTo>
                    <a:pt x="17" y="157"/>
                    <a:pt x="57" y="197"/>
                    <a:pt x="107" y="197"/>
                  </a:cubicBezTo>
                  <a:cubicBezTo>
                    <a:pt x="156" y="197"/>
                    <a:pt x="197" y="157"/>
                    <a:pt x="197" y="107"/>
                  </a:cubicBezTo>
                  <a:cubicBezTo>
                    <a:pt x="197" y="83"/>
                    <a:pt x="187" y="60"/>
                    <a:pt x="170" y="43"/>
                  </a:cubicBezTo>
                  <a:lnTo>
                    <a:pt x="182" y="32"/>
                  </a:lnTo>
                  <a:cubicBezTo>
                    <a:pt x="202" y="52"/>
                    <a:pt x="213" y="79"/>
                    <a:pt x="213" y="107"/>
                  </a:cubicBezTo>
                  <a:cubicBezTo>
                    <a:pt x="213" y="166"/>
                    <a:pt x="166" y="214"/>
                    <a:pt x="107"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alibri" panose="020F0502020204030204"/>
              </a:endParaRPr>
            </a:p>
          </p:txBody>
        </p:sp>
        <p:sp>
          <p:nvSpPr>
            <p:cNvPr id="85" name="Freeform 491">
              <a:extLst>
                <a:ext uri="{FF2B5EF4-FFF2-40B4-BE49-F238E27FC236}">
                  <a16:creationId xmlns:a16="http://schemas.microsoft.com/office/drawing/2014/main" id="{10896075-EFC8-430E-9CD7-D086FCDEE80A}"/>
                </a:ext>
              </a:extLst>
            </p:cNvPr>
            <p:cNvSpPr>
              <a:spLocks noChangeAspect="1"/>
            </p:cNvSpPr>
            <p:nvPr/>
          </p:nvSpPr>
          <p:spPr bwMode="auto">
            <a:xfrm rot="511342">
              <a:off x="10277295" y="2948305"/>
              <a:ext cx="41735" cy="49260"/>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alibri" panose="020F0502020204030204"/>
              </a:endParaRPr>
            </a:p>
          </p:txBody>
        </p:sp>
      </p:grpSp>
      <p:sp>
        <p:nvSpPr>
          <p:cNvPr id="77" name="Rectángulo 61"/>
          <p:cNvSpPr/>
          <p:nvPr/>
        </p:nvSpPr>
        <p:spPr>
          <a:xfrm>
            <a:off x="1293435" y="4830557"/>
            <a:ext cx="1144388" cy="369332"/>
          </a:xfrm>
          <a:prstGeom prst="rect">
            <a:avLst/>
          </a:prstGeom>
        </p:spPr>
        <p:txBody>
          <a:bodyPr wrap="squar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削減効果</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sp>
        <p:nvSpPr>
          <p:cNvPr id="48" name="Rectángulo 85"/>
          <p:cNvSpPr/>
          <p:nvPr/>
        </p:nvSpPr>
        <p:spPr>
          <a:xfrm>
            <a:off x="916100" y="5371010"/>
            <a:ext cx="5498319" cy="1200329"/>
          </a:xfrm>
          <a:prstGeom prst="rect">
            <a:avLst/>
          </a:prstGeom>
        </p:spPr>
        <p:txBody>
          <a:bodyPr wrap="square">
            <a:spAutoFit/>
          </a:bodyPr>
          <a:lstStyle/>
          <a:p>
            <a:r>
              <a:rPr lang="ja-JP" altLang="en-US" dirty="0">
                <a:solidFill>
                  <a:prstClr val="black"/>
                </a:solidFill>
                <a:latin typeface="ＭＳ Ｐゴシック" panose="020B0600070205080204" pitchFamily="50" charset="-128"/>
                <a:ea typeface="ＭＳ Ｐゴシック" panose="020B0600070205080204" pitchFamily="50" charset="-128"/>
              </a:rPr>
              <a:t>      </a:t>
            </a:r>
            <a:r>
              <a:rPr lang="ja-JP" altLang="es-ES" dirty="0">
                <a:solidFill>
                  <a:prstClr val="black"/>
                </a:solidFill>
                <a:latin typeface="ＭＳ Ｐゴシック" panose="020B0600070205080204" pitchFamily="50" charset="-128"/>
                <a:ea typeface="ＭＳ Ｐゴシック" panose="020B0600070205080204" pitchFamily="50" charset="-128"/>
              </a:rPr>
              <a:t>月</a:t>
            </a:r>
            <a:r>
              <a:rPr lang="ja-JP" altLang="en-US" dirty="0">
                <a:solidFill>
                  <a:prstClr val="black"/>
                </a:solidFill>
                <a:latin typeface="ＭＳ Ｐゴシック" panose="020B0600070205080204" pitchFamily="50" charset="-128"/>
                <a:ea typeface="ＭＳ Ｐゴシック" panose="020B0600070205080204" pitchFamily="50" charset="-128"/>
              </a:rPr>
              <a:t>間   </a:t>
            </a:r>
            <a:r>
              <a:rPr lang="es-ES" altLang="ja-JP" dirty="0">
                <a:solidFill>
                  <a:prstClr val="black"/>
                </a:solidFill>
                <a:latin typeface="ＭＳ Ｐゴシック" panose="020B0600070205080204" pitchFamily="50" charset="-128"/>
                <a:ea typeface="ＭＳ Ｐゴシック" panose="020B0600070205080204" pitchFamily="50" charset="-128"/>
              </a:rPr>
              <a:t>1</a:t>
            </a:r>
            <a:r>
              <a:rPr lang="en-US" altLang="ja-JP" dirty="0">
                <a:solidFill>
                  <a:prstClr val="black"/>
                </a:solidFill>
                <a:latin typeface="ＭＳ Ｐゴシック" panose="020B0600070205080204" pitchFamily="50" charset="-128"/>
                <a:ea typeface="ＭＳ Ｐゴシック" panose="020B0600070205080204" pitchFamily="50" charset="-128"/>
              </a:rPr>
              <a:t>000</a:t>
            </a:r>
            <a:r>
              <a:rPr lang="ja-JP" altLang="en-US" dirty="0">
                <a:solidFill>
                  <a:prstClr val="black"/>
                </a:solidFill>
                <a:latin typeface="ＭＳ Ｐゴシック" panose="020B0600070205080204" pitchFamily="50" charset="-128"/>
                <a:ea typeface="ＭＳ Ｐゴシック" panose="020B0600070205080204" pitchFamily="50" charset="-128"/>
              </a:rPr>
              <a:t>時間</a:t>
            </a:r>
            <a:r>
              <a:rPr lang="ja-JP" altLang="es-ES" dirty="0">
                <a:solidFill>
                  <a:prstClr val="black"/>
                </a:solidFill>
                <a:latin typeface="ＭＳ Ｐゴシック" panose="020B0600070205080204" pitchFamily="50" charset="-128"/>
                <a:ea typeface="ＭＳ Ｐゴシック" panose="020B0600070205080204" pitchFamily="50" charset="-128"/>
              </a:rPr>
              <a:t>以上</a:t>
            </a:r>
            <a:endParaRPr lang="es-ES" altLang="ja-JP" dirty="0">
              <a:solidFill>
                <a:prstClr val="black"/>
              </a:solidFill>
              <a:latin typeface="ＭＳ Ｐゴシック" panose="020B0600070205080204" pitchFamily="50" charset="-128"/>
              <a:ea typeface="ＭＳ Ｐゴシック" panose="020B0600070205080204" pitchFamily="50" charset="-128"/>
            </a:endParaRPr>
          </a:p>
          <a:p>
            <a:r>
              <a:rPr lang="ja-JP" altLang="es-ES" dirty="0">
                <a:solidFill>
                  <a:prstClr val="black"/>
                </a:solidFill>
                <a:latin typeface="ＭＳ Ｐゴシック" panose="020B0600070205080204" pitchFamily="50" charset="-128"/>
                <a:ea typeface="ＭＳ Ｐゴシック" panose="020B0600070205080204" pitchFamily="50" charset="-128"/>
              </a:rPr>
              <a:t>　　　（</a:t>
            </a:r>
            <a:r>
              <a:rPr lang="es-ES" altLang="ja-JP" dirty="0">
                <a:solidFill>
                  <a:prstClr val="black"/>
                </a:solidFill>
                <a:latin typeface="ＭＳ Ｐゴシック" panose="020B0600070205080204" pitchFamily="50" charset="-128"/>
                <a:ea typeface="ＭＳ Ｐゴシック" panose="020B0600070205080204" pitchFamily="50" charset="-128"/>
              </a:rPr>
              <a:t>1</a:t>
            </a:r>
            <a:r>
              <a:rPr lang="ja-JP" altLang="es-ES" dirty="0">
                <a:solidFill>
                  <a:prstClr val="black"/>
                </a:solidFill>
                <a:latin typeface="ＭＳ Ｐゴシック" panose="020B0600070205080204" pitchFamily="50" charset="-128"/>
                <a:ea typeface="ＭＳ Ｐゴシック" panose="020B0600070205080204" pitchFamily="50" charset="-128"/>
              </a:rPr>
              <a:t>つのロボットで約</a:t>
            </a:r>
            <a:r>
              <a:rPr lang="es-ES" altLang="ja-JP" dirty="0">
                <a:solidFill>
                  <a:prstClr val="black"/>
                </a:solidFill>
                <a:latin typeface="ＭＳ Ｐゴシック" panose="020B0600070205080204" pitchFamily="50" charset="-128"/>
                <a:ea typeface="ＭＳ Ｐゴシック" panose="020B0600070205080204" pitchFamily="50" charset="-128"/>
              </a:rPr>
              <a:t>10</a:t>
            </a:r>
            <a:r>
              <a:rPr lang="ja-JP" altLang="es-ES" dirty="0">
                <a:solidFill>
                  <a:prstClr val="black"/>
                </a:solidFill>
                <a:latin typeface="ＭＳ Ｐゴシック" panose="020B0600070205080204" pitchFamily="50" charset="-128"/>
                <a:ea typeface="ＭＳ Ｐゴシック" panose="020B0600070205080204" pitchFamily="50" charset="-128"/>
              </a:rPr>
              <a:t>人月分の業務遂行）</a:t>
            </a:r>
            <a:endParaRPr lang="es-ES" altLang="ja-JP" dirty="0">
              <a:solidFill>
                <a:prstClr val="black"/>
              </a:solidFill>
              <a:latin typeface="ＭＳ Ｐゴシック" panose="020B0600070205080204" pitchFamily="50" charset="-128"/>
              <a:ea typeface="ＭＳ Ｐゴシック" panose="020B0600070205080204" pitchFamily="50" charset="-128"/>
            </a:endParaRPr>
          </a:p>
          <a:p>
            <a:r>
              <a:rPr lang="ja-JP" altLang="es-ES" dirty="0">
                <a:solidFill>
                  <a:prstClr val="black"/>
                </a:solidFill>
                <a:latin typeface="ＭＳ Ｐゴシック" panose="020B0600070205080204" pitchFamily="50" charset="-128"/>
                <a:ea typeface="ＭＳ Ｐゴシック" panose="020B0600070205080204" pitchFamily="50" charset="-128"/>
              </a:rPr>
              <a:t>　　　お客様対応の満足度向上</a:t>
            </a:r>
            <a:endParaRPr lang="pt-BR" dirty="0">
              <a:solidFill>
                <a:prstClr val="black"/>
              </a:solidFill>
              <a:latin typeface="ＭＳ Ｐゴシック" panose="020B0600070205080204" pitchFamily="50" charset="-128"/>
              <a:ea typeface="ＭＳ Ｐゴシック" panose="020B0600070205080204" pitchFamily="50" charset="-128"/>
            </a:endParaRPr>
          </a:p>
          <a:p>
            <a:endParaRPr lang="en-US" dirty="0">
              <a:solidFill>
                <a:prstClr val="black"/>
              </a:solidFill>
              <a:latin typeface="ＭＳ Ｐゴシック" panose="020B0600070205080204" pitchFamily="50" charset="-128"/>
              <a:ea typeface="ＭＳ Ｐゴシック" panose="020B0600070205080204" pitchFamily="50" charset="-128"/>
            </a:endParaRPr>
          </a:p>
        </p:txBody>
      </p:sp>
      <p:sp>
        <p:nvSpPr>
          <p:cNvPr id="49" name="CaixaDeTexto 47">
            <a:extLst>
              <a:ext uri="{FF2B5EF4-FFF2-40B4-BE49-F238E27FC236}">
                <a16:creationId xmlns:a16="http://schemas.microsoft.com/office/drawing/2014/main" id="{F9618948-4D25-480E-AEB6-418B4C223AD4}"/>
              </a:ext>
            </a:extLst>
          </p:cNvPr>
          <p:cNvSpPr txBox="1"/>
          <p:nvPr/>
        </p:nvSpPr>
        <p:spPr>
          <a:xfrm>
            <a:off x="6145697" y="2144921"/>
            <a:ext cx="5747430" cy="1569660"/>
          </a:xfrm>
          <a:prstGeom prst="rect">
            <a:avLst/>
          </a:prstGeom>
          <a:noFill/>
        </p:spPr>
        <p:txBody>
          <a:bodyPr wrap="square">
            <a:spAutoFit/>
          </a:bodyPr>
          <a:lstStyle/>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日当たり</a:t>
            </a:r>
            <a:r>
              <a:rPr lang="es-ES" altLang="ja-JP" sz="1600" dirty="0">
                <a:solidFill>
                  <a:prstClr val="black"/>
                </a:solidFill>
                <a:latin typeface="ＭＳ Ｐゴシック" panose="020B0600070205080204" pitchFamily="50" charset="-128"/>
                <a:ea typeface="ＭＳ Ｐゴシック" panose="020B0600070205080204" pitchFamily="50" charset="-128"/>
              </a:rPr>
              <a:t>200</a:t>
            </a:r>
            <a:r>
              <a:rPr lang="ja-JP" altLang="es-ES" sz="1600" dirty="0">
                <a:solidFill>
                  <a:prstClr val="black"/>
                </a:solidFill>
                <a:latin typeface="ＭＳ Ｐゴシック" panose="020B0600070205080204" pitchFamily="50" charset="-128"/>
                <a:ea typeface="ＭＳ Ｐゴシック" panose="020B0600070205080204" pitchFamily="50" charset="-128"/>
              </a:rPr>
              <a:t>件を超える入電（約</a:t>
            </a:r>
            <a:r>
              <a:rPr lang="es-ES" altLang="ja-JP" sz="1600" dirty="0">
                <a:solidFill>
                  <a:prstClr val="black"/>
                </a:solidFill>
                <a:latin typeface="ＭＳ Ｐゴシック" panose="020B0600070205080204" pitchFamily="50" charset="-128"/>
                <a:ea typeface="ＭＳ Ｐゴシック" panose="020B0600070205080204" pitchFamily="50" charset="-128"/>
              </a:rPr>
              <a:t>15</a:t>
            </a:r>
            <a:r>
              <a:rPr lang="ja-JP" altLang="es-ES" sz="1600" dirty="0">
                <a:solidFill>
                  <a:prstClr val="black"/>
                </a:solidFill>
                <a:latin typeface="ＭＳ Ｐゴシック" panose="020B0600070205080204" pitchFamily="50" charset="-128"/>
                <a:ea typeface="ＭＳ Ｐゴシック" panose="020B0600070205080204" pitchFamily="50" charset="-128"/>
              </a:rPr>
              <a:t>分</a:t>
            </a:r>
            <a:r>
              <a:rPr lang="es-ES" altLang="ja-JP" sz="1600" dirty="0">
                <a:solidFill>
                  <a:prstClr val="black"/>
                </a:solidFill>
                <a:latin typeface="ＭＳ Ｐゴシック" panose="020B0600070205080204" pitchFamily="50" charset="-128"/>
                <a:ea typeface="ＭＳ Ｐゴシック" panose="020B0600070205080204" pitchFamily="50" charset="-128"/>
              </a:rPr>
              <a:t>/</a:t>
            </a:r>
            <a:r>
              <a:rPr lang="ja-JP" altLang="es-ES" sz="1600" dirty="0">
                <a:solidFill>
                  <a:prstClr val="black"/>
                </a:solidFill>
                <a:latin typeface="ＭＳ Ｐゴシック" panose="020B0600070205080204" pitchFamily="50" charset="-128"/>
                <a:ea typeface="ＭＳ Ｐゴシック" panose="020B0600070205080204" pitchFamily="50" charset="-128"/>
              </a:rPr>
              <a:t>各電話対応）の</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録音データから、顧客より共有依頼を受けた記録を検索。</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音声データを自動でテキスト化し、深刻度を分析・分類。</a:t>
            </a:r>
            <a:endParaRPr lang="es-ES"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endParaRPr lang="pt-BR" sz="1600" dirty="0">
              <a:solidFill>
                <a:prstClr val="black"/>
              </a:solidFill>
              <a:latin typeface="ＭＳ Ｐゴシック" panose="020B0600070205080204" pitchFamily="50" charset="-128"/>
              <a:ea typeface="ＭＳ Ｐゴシック" panose="020B0600070205080204" pitchFamily="50" charset="-128"/>
            </a:endParaRPr>
          </a:p>
        </p:txBody>
      </p:sp>
      <p:pic>
        <p:nvPicPr>
          <p:cNvPr id="16" name="Imagen 15"/>
          <p:cNvPicPr>
            <a:picLocks noChangeAspect="1"/>
          </p:cNvPicPr>
          <p:nvPr/>
        </p:nvPicPr>
        <p:blipFill>
          <a:blip r:embed="rId10"/>
          <a:stretch>
            <a:fillRect/>
          </a:stretch>
        </p:blipFill>
        <p:spPr>
          <a:xfrm>
            <a:off x="10570366" y="472263"/>
            <a:ext cx="1009263" cy="755973"/>
          </a:xfrm>
          <a:prstGeom prst="rect">
            <a:avLst/>
          </a:prstGeom>
        </p:spPr>
      </p:pic>
      <p:grpSp>
        <p:nvGrpSpPr>
          <p:cNvPr id="3" name="Grupo 2"/>
          <p:cNvGrpSpPr/>
          <p:nvPr/>
        </p:nvGrpSpPr>
        <p:grpSpPr>
          <a:xfrm>
            <a:off x="6180012" y="3794263"/>
            <a:ext cx="4974286" cy="2384293"/>
            <a:chOff x="6225364" y="3373128"/>
            <a:chExt cx="5222092" cy="2997949"/>
          </a:xfrm>
        </p:grpSpPr>
        <p:pic>
          <p:nvPicPr>
            <p:cNvPr id="50" name="Imagem 74">
              <a:extLst>
                <a:ext uri="{FF2B5EF4-FFF2-40B4-BE49-F238E27FC236}">
                  <a16:creationId xmlns:a16="http://schemas.microsoft.com/office/drawing/2014/main" id="{39E6BBCA-4EFA-4E54-B774-0DCC63B8E8F4}"/>
                </a:ext>
              </a:extLst>
            </p:cNvPr>
            <p:cNvPicPr>
              <a:picLocks noChangeAspect="1"/>
            </p:cNvPicPr>
            <p:nvPr/>
          </p:nvPicPr>
          <p:blipFill>
            <a:blip r:embed="rId11" cstate="print">
              <a:duotone>
                <a:srgbClr val="535353">
                  <a:shade val="45000"/>
                  <a:satMod val="135000"/>
                </a:srgbClr>
                <a:prstClr val="white"/>
              </a:duotone>
              <a:extLst>
                <a:ext uri="{28A0092B-C50C-407E-A947-70E740481C1C}">
                  <a14:useLocalDpi xmlns:a14="http://schemas.microsoft.com/office/drawing/2010/main" val="0"/>
                </a:ext>
              </a:extLst>
            </a:blip>
            <a:stretch>
              <a:fillRect/>
            </a:stretch>
          </p:blipFill>
          <p:spPr>
            <a:xfrm>
              <a:off x="6442860" y="4180116"/>
              <a:ext cx="540000" cy="499461"/>
            </a:xfrm>
            <a:prstGeom prst="rect">
              <a:avLst/>
            </a:prstGeom>
          </p:spPr>
        </p:pic>
        <p:sp>
          <p:nvSpPr>
            <p:cNvPr id="56" name="Our solution permits to design conversational flows, making the User Experience more fluid and natural">
              <a:extLst>
                <a:ext uri="{FF2B5EF4-FFF2-40B4-BE49-F238E27FC236}">
                  <a16:creationId xmlns:a16="http://schemas.microsoft.com/office/drawing/2014/main" id="{933542B7-FA17-4C33-AD67-226A224C20C9}"/>
                </a:ext>
              </a:extLst>
            </p:cNvPr>
            <p:cNvSpPr/>
            <p:nvPr/>
          </p:nvSpPr>
          <p:spPr>
            <a:xfrm>
              <a:off x="6333541" y="4656270"/>
              <a:ext cx="758452" cy="600283"/>
            </a:xfrm>
            <a:prstGeom prst="rect">
              <a:avLst/>
            </a:prstGeom>
            <a:ln w="12700">
              <a:miter lim="400000"/>
            </a:ln>
            <a:extLst>
              <a:ext uri="{C572A759-6A51-4108-AA02-DFA0A04FC94B}">
                <ma14:wrappingTextBoxFlag xmlns="" xmlns:ma14="http://schemas.microsoft.com/office/mac/drawingml/2011/main" val="1"/>
              </a:ext>
            </a:extLst>
          </p:spPr>
          <p:txBody>
            <a:bodyPr wrap="square" lIns="91497" tIns="91499" rIns="91497" bIns="91499">
              <a:spAutoFit/>
            </a:bodyPr>
            <a:lstStyle>
              <a:lvl1pPr defTabSz="1218987">
                <a:defRPr sz="1400">
                  <a:solidFill>
                    <a:srgbClr val="000000"/>
                  </a:solidFill>
                  <a:latin typeface="Ubuntu Light"/>
                  <a:ea typeface="Ubuntu Light"/>
                  <a:cs typeface="Ubuntu Light"/>
                  <a:sym typeface="Ubuntu Light"/>
                </a:defRPr>
              </a:lvl1pPr>
            </a:lstStyle>
            <a:p>
              <a:pPr algn="ctr" hangingPunct="0"/>
              <a:r>
                <a:rPr lang="ja-JP" altLang="es-ES" sz="900" kern="0" dirty="0">
                  <a:solidFill>
                    <a:srgbClr val="505050"/>
                  </a:solidFill>
                  <a:latin typeface="Century Gothic"/>
                  <a:cs typeface="Century Gothic"/>
                </a:rPr>
                <a:t>音声</a:t>
              </a:r>
              <a:endParaRPr lang="es-ES" altLang="ja-JP" sz="900" kern="0" dirty="0">
                <a:solidFill>
                  <a:srgbClr val="505050"/>
                </a:solidFill>
                <a:latin typeface="Century Gothic"/>
                <a:cs typeface="Century Gothic"/>
              </a:endParaRPr>
            </a:p>
            <a:p>
              <a:pPr algn="ctr" hangingPunct="0"/>
              <a:r>
                <a:rPr lang="ja-JP" altLang="es-ES" sz="900" kern="0" dirty="0">
                  <a:solidFill>
                    <a:srgbClr val="505050"/>
                  </a:solidFill>
                  <a:latin typeface="Century Gothic"/>
                  <a:cs typeface="Century Gothic"/>
                </a:rPr>
                <a:t>テキスト変換</a:t>
              </a:r>
              <a:endParaRPr lang="en-US" sz="900" kern="0" dirty="0">
                <a:solidFill>
                  <a:srgbClr val="505050"/>
                </a:solidFill>
                <a:latin typeface="Century Gothic"/>
                <a:cs typeface="Century Gothic"/>
              </a:endParaRPr>
            </a:p>
          </p:txBody>
        </p:sp>
        <p:pic>
          <p:nvPicPr>
            <p:cNvPr id="57" name="Imagem 76">
              <a:extLst>
                <a:ext uri="{FF2B5EF4-FFF2-40B4-BE49-F238E27FC236}">
                  <a16:creationId xmlns:a16="http://schemas.microsoft.com/office/drawing/2014/main" id="{E34DFD54-14AD-4E2E-9B0C-236BE26A7A86}"/>
                </a:ext>
              </a:extLst>
            </p:cNvPr>
            <p:cNvPicPr>
              <a:picLocks noChangeAspect="1"/>
            </p:cNvPicPr>
            <p:nvPr/>
          </p:nvPicPr>
          <p:blipFill rotWithShape="1">
            <a:blip r:embed="rId12" cstate="print">
              <a:duotone>
                <a:srgbClr val="FFFFFF">
                  <a:shade val="45000"/>
                  <a:satMod val="135000"/>
                </a:srgbClr>
                <a:prstClr val="white"/>
              </a:duotone>
              <a:extLst>
                <a:ext uri="{28A0092B-C50C-407E-A947-70E740481C1C}">
                  <a14:useLocalDpi xmlns:a14="http://schemas.microsoft.com/office/drawing/2010/main" val="0"/>
                </a:ext>
              </a:extLst>
            </a:blip>
            <a:srcRect b="9750"/>
            <a:stretch/>
          </p:blipFill>
          <p:spPr>
            <a:xfrm>
              <a:off x="7469908" y="4180116"/>
              <a:ext cx="540000" cy="499461"/>
            </a:xfrm>
            <a:prstGeom prst="rect">
              <a:avLst/>
            </a:prstGeom>
          </p:spPr>
        </p:pic>
        <p:sp>
          <p:nvSpPr>
            <p:cNvPr id="58" name="Our solution permits to design conversational flows, making the User Experience more fluid and natural">
              <a:extLst>
                <a:ext uri="{FF2B5EF4-FFF2-40B4-BE49-F238E27FC236}">
                  <a16:creationId xmlns:a16="http://schemas.microsoft.com/office/drawing/2014/main" id="{A2E144BB-FF94-48D9-9221-4FF74E10ABFE}"/>
                </a:ext>
              </a:extLst>
            </p:cNvPr>
            <p:cNvSpPr/>
            <p:nvPr/>
          </p:nvSpPr>
          <p:spPr>
            <a:xfrm>
              <a:off x="7201126" y="4685390"/>
              <a:ext cx="1077563" cy="323285"/>
            </a:xfrm>
            <a:prstGeom prst="rect">
              <a:avLst/>
            </a:prstGeom>
            <a:ln w="12700">
              <a:miter lim="400000"/>
            </a:ln>
            <a:extLst>
              <a:ext uri="{C572A759-6A51-4108-AA02-DFA0A04FC94B}">
                <ma14:wrappingTextBoxFlag xmlns="" xmlns:ma14="http://schemas.microsoft.com/office/mac/drawingml/2011/main" val="1"/>
              </a:ext>
            </a:extLst>
          </p:spPr>
          <p:txBody>
            <a:bodyPr wrap="square" lIns="91497" tIns="91499" rIns="91497" bIns="91499">
              <a:spAutoFit/>
            </a:bodyPr>
            <a:lstStyle>
              <a:lvl1pPr defTabSz="1218987">
                <a:defRPr sz="1400">
                  <a:solidFill>
                    <a:srgbClr val="000000"/>
                  </a:solidFill>
                  <a:latin typeface="Ubuntu Light"/>
                  <a:ea typeface="Ubuntu Light"/>
                  <a:cs typeface="Ubuntu Light"/>
                  <a:sym typeface="Ubuntu Light"/>
                </a:defRPr>
              </a:lvl1pPr>
            </a:lstStyle>
            <a:p>
              <a:pPr algn="ctr" hangingPunct="0"/>
              <a:r>
                <a:rPr lang="ja-JP" altLang="es-ES" sz="900" kern="0" dirty="0">
                  <a:solidFill>
                    <a:srgbClr val="505050"/>
                  </a:solidFill>
                  <a:latin typeface="Century Gothic"/>
                  <a:cs typeface="Century Gothic"/>
                </a:rPr>
                <a:t>会話者の特定</a:t>
              </a:r>
              <a:endParaRPr sz="900" kern="0" dirty="0">
                <a:solidFill>
                  <a:srgbClr val="505050"/>
                </a:solidFill>
                <a:latin typeface="Century Gothic"/>
                <a:cs typeface="Century Gothic"/>
              </a:endParaRPr>
            </a:p>
          </p:txBody>
        </p:sp>
        <p:sp>
          <p:nvSpPr>
            <p:cNvPr id="59" name="Rectángulo 16">
              <a:extLst>
                <a:ext uri="{FF2B5EF4-FFF2-40B4-BE49-F238E27FC236}">
                  <a16:creationId xmlns:a16="http://schemas.microsoft.com/office/drawing/2014/main" id="{52A355A7-82CE-4926-8CCC-B9395F79114B}"/>
                </a:ext>
              </a:extLst>
            </p:cNvPr>
            <p:cNvSpPr/>
            <p:nvPr/>
          </p:nvSpPr>
          <p:spPr>
            <a:xfrm>
              <a:off x="6225364" y="3433813"/>
              <a:ext cx="2015067" cy="612000"/>
            </a:xfrm>
            <a:prstGeom prst="roundRect">
              <a:avLst>
                <a:gd name="adj" fmla="val 10838"/>
              </a:avLst>
            </a:prstGeom>
            <a:solidFill>
              <a:srgbClr val="FFFFFF"/>
            </a:solidFill>
            <a:ln w="3175" cap="flat" cmpd="sng" algn="ctr">
              <a:solidFill>
                <a:srgbClr val="50505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altLang="ja-JP" sz="1000" kern="0" dirty="0">
                  <a:solidFill>
                    <a:srgbClr val="505050"/>
                  </a:solidFill>
                  <a:latin typeface="Century Gothic" panose="020F0302020204030204"/>
                </a:rPr>
                <a:t>AI</a:t>
              </a:r>
              <a:r>
                <a:rPr lang="ja-JP" altLang="es-ES" sz="1000" kern="0" dirty="0">
                  <a:solidFill>
                    <a:srgbClr val="505050"/>
                  </a:solidFill>
                  <a:latin typeface="Century Gothic" panose="020F0302020204030204"/>
                </a:rPr>
                <a:t>にて録音した会話を</a:t>
              </a:r>
              <a:endParaRPr lang="es-ES" altLang="ja-JP" sz="1000" kern="0" dirty="0">
                <a:solidFill>
                  <a:srgbClr val="505050"/>
                </a:solidFill>
                <a:latin typeface="Century Gothic" panose="020F0302020204030204"/>
              </a:endParaRPr>
            </a:p>
            <a:p>
              <a:pPr marL="0" marR="0" lvl="0" indent="0" algn="ctr" defTabSz="914400" eaLnBrk="1" fontAlgn="auto" latinLnBrk="0" hangingPunct="1">
                <a:lnSpc>
                  <a:spcPct val="100000"/>
                </a:lnSpc>
                <a:spcBef>
                  <a:spcPts val="0"/>
                </a:spcBef>
                <a:spcAft>
                  <a:spcPts val="0"/>
                </a:spcAft>
                <a:buClrTx/>
                <a:buSzTx/>
                <a:buFontTx/>
                <a:buNone/>
                <a:tabLst/>
                <a:defRPr/>
              </a:pPr>
              <a:r>
                <a:rPr lang="ja-JP" altLang="es-ES" sz="1000" kern="0" dirty="0">
                  <a:solidFill>
                    <a:srgbClr val="505050"/>
                  </a:solidFill>
                  <a:latin typeface="Century Gothic" panose="020F0302020204030204"/>
                </a:rPr>
                <a:t>ヒアリング</a:t>
              </a:r>
              <a:endParaRPr kumimoji="0" lang="pt-BR" sz="1000" b="0" i="0" u="none" strike="noStrike" kern="0" cap="none" spc="0" normalizeH="0" baseline="0" noProof="0" dirty="0">
                <a:ln>
                  <a:noFill/>
                </a:ln>
                <a:solidFill>
                  <a:srgbClr val="505050"/>
                </a:solidFill>
                <a:effectLst/>
                <a:uLnTx/>
                <a:uFillTx/>
                <a:latin typeface="Century Gothic" panose="020F0302020204030204"/>
                <a:ea typeface="+mn-ea"/>
                <a:cs typeface="+mn-cs"/>
              </a:endParaRPr>
            </a:p>
          </p:txBody>
        </p:sp>
        <p:pic>
          <p:nvPicPr>
            <p:cNvPr id="61" name="Imagem 79">
              <a:extLst>
                <a:ext uri="{FF2B5EF4-FFF2-40B4-BE49-F238E27FC236}">
                  <a16:creationId xmlns:a16="http://schemas.microsoft.com/office/drawing/2014/main" id="{60F137A5-FB22-4D7F-8673-A1097917DE6D}"/>
                </a:ext>
              </a:extLst>
            </p:cNvPr>
            <p:cNvPicPr>
              <a:picLocks noChangeAspect="1"/>
            </p:cNvPicPr>
            <p:nvPr/>
          </p:nvPicPr>
          <p:blipFill>
            <a:blip r:embed="rId13" cstate="print">
              <a:clrChange>
                <a:clrFrom>
                  <a:srgbClr val="FFFFFF"/>
                </a:clrFrom>
                <a:clrTo>
                  <a:srgbClr val="FFFFFF">
                    <a:alpha val="0"/>
                  </a:srgbClr>
                </a:clrTo>
              </a:clrChange>
              <a:duotone>
                <a:prstClr val="black"/>
                <a:srgbClr val="505050">
                  <a:tint val="45000"/>
                  <a:satMod val="400000"/>
                </a:srgbClr>
              </a:duotone>
              <a:extLst>
                <a:ext uri="{28A0092B-C50C-407E-A947-70E740481C1C}">
                  <a14:useLocalDpi xmlns:a14="http://schemas.microsoft.com/office/drawing/2010/main" val="0"/>
                </a:ext>
              </a:extLst>
            </a:blip>
            <a:stretch>
              <a:fillRect/>
            </a:stretch>
          </p:blipFill>
          <p:spPr>
            <a:xfrm>
              <a:off x="6475006" y="5318788"/>
              <a:ext cx="540000" cy="460241"/>
            </a:xfrm>
            <a:prstGeom prst="rect">
              <a:avLst/>
            </a:prstGeom>
          </p:spPr>
        </p:pic>
        <p:sp>
          <p:nvSpPr>
            <p:cNvPr id="62" name="Our solution permits to design conversational flows, making the User Experience more fluid and natural">
              <a:extLst>
                <a:ext uri="{FF2B5EF4-FFF2-40B4-BE49-F238E27FC236}">
                  <a16:creationId xmlns:a16="http://schemas.microsoft.com/office/drawing/2014/main" id="{50754078-AB2D-408F-B186-70DE09F67EE9}"/>
                </a:ext>
              </a:extLst>
            </p:cNvPr>
            <p:cNvSpPr/>
            <p:nvPr/>
          </p:nvSpPr>
          <p:spPr>
            <a:xfrm>
              <a:off x="6257392" y="5778130"/>
              <a:ext cx="970968" cy="323285"/>
            </a:xfrm>
            <a:prstGeom prst="rect">
              <a:avLst/>
            </a:prstGeom>
            <a:ln w="12700">
              <a:miter lim="400000"/>
            </a:ln>
            <a:extLst>
              <a:ext uri="{C572A759-6A51-4108-AA02-DFA0A04FC94B}">
                <ma14:wrappingTextBoxFlag xmlns="" xmlns:ma14="http://schemas.microsoft.com/office/mac/drawingml/2011/main" val="1"/>
              </a:ext>
            </a:extLst>
          </p:spPr>
          <p:txBody>
            <a:bodyPr wrap="square" lIns="91497" tIns="91499" rIns="91497" bIns="91499">
              <a:spAutoFit/>
            </a:bodyPr>
            <a:lstStyle>
              <a:lvl1pPr defTabSz="1218987">
                <a:defRPr sz="1400">
                  <a:solidFill>
                    <a:srgbClr val="000000"/>
                  </a:solidFill>
                  <a:latin typeface="Ubuntu Light"/>
                  <a:ea typeface="Ubuntu Light"/>
                  <a:cs typeface="Ubuntu Light"/>
                  <a:sym typeface="Ubuntu Light"/>
                </a:defRPr>
              </a:lvl1pPr>
            </a:lstStyle>
            <a:p>
              <a:pPr algn="ctr" hangingPunct="0"/>
              <a:r>
                <a:rPr lang="ja-JP" altLang="es-ES" sz="900" kern="0" dirty="0">
                  <a:solidFill>
                    <a:srgbClr val="505050"/>
                  </a:solidFill>
                  <a:latin typeface="Century Gothic"/>
                  <a:cs typeface="Century Gothic"/>
                </a:rPr>
                <a:t>音声分析</a:t>
              </a:r>
              <a:endParaRPr lang="en-US" sz="900" kern="0" dirty="0">
                <a:solidFill>
                  <a:srgbClr val="505050"/>
                </a:solidFill>
                <a:latin typeface="Century Gothic"/>
                <a:cs typeface="Century Gothic"/>
              </a:endParaRPr>
            </a:p>
          </p:txBody>
        </p:sp>
        <p:pic>
          <p:nvPicPr>
            <p:cNvPr id="63" name="Imagem 81">
              <a:extLst>
                <a:ext uri="{FF2B5EF4-FFF2-40B4-BE49-F238E27FC236}">
                  <a16:creationId xmlns:a16="http://schemas.microsoft.com/office/drawing/2014/main" id="{810357F2-3ADF-43FC-A7FC-772FF32ED52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537643" y="5234276"/>
              <a:ext cx="540000" cy="460241"/>
            </a:xfrm>
            <a:prstGeom prst="rect">
              <a:avLst/>
            </a:prstGeom>
          </p:spPr>
        </p:pic>
        <p:sp>
          <p:nvSpPr>
            <p:cNvPr id="64" name="Our solution permits to design conversational flows, making the User Experience more fluid and natural">
              <a:extLst>
                <a:ext uri="{FF2B5EF4-FFF2-40B4-BE49-F238E27FC236}">
                  <a16:creationId xmlns:a16="http://schemas.microsoft.com/office/drawing/2014/main" id="{889C6106-26F8-4370-8FF3-2A5E8A978509}"/>
                </a:ext>
              </a:extLst>
            </p:cNvPr>
            <p:cNvSpPr/>
            <p:nvPr/>
          </p:nvSpPr>
          <p:spPr>
            <a:xfrm>
              <a:off x="7309607" y="5725732"/>
              <a:ext cx="954243" cy="461784"/>
            </a:xfrm>
            <a:prstGeom prst="rect">
              <a:avLst/>
            </a:prstGeom>
            <a:ln w="12700">
              <a:miter lim="400000"/>
            </a:ln>
            <a:extLst>
              <a:ext uri="{C572A759-6A51-4108-AA02-DFA0A04FC94B}">
                <ma14:wrappingTextBoxFlag xmlns="" xmlns:ma14="http://schemas.microsoft.com/office/mac/drawingml/2011/main" val="1"/>
              </a:ext>
            </a:extLst>
          </p:spPr>
          <p:txBody>
            <a:bodyPr wrap="square" lIns="91497" tIns="91499" rIns="91497" bIns="91499">
              <a:spAutoFit/>
            </a:bodyPr>
            <a:lstStyle>
              <a:lvl1pPr defTabSz="1218987">
                <a:defRPr sz="1400">
                  <a:solidFill>
                    <a:srgbClr val="000000"/>
                  </a:solidFill>
                  <a:latin typeface="Ubuntu Light"/>
                  <a:ea typeface="Ubuntu Light"/>
                  <a:cs typeface="Ubuntu Light"/>
                  <a:sym typeface="Ubuntu Light"/>
                </a:defRPr>
              </a:lvl1pPr>
            </a:lstStyle>
            <a:p>
              <a:pPr algn="ctr" hangingPunct="0"/>
              <a:r>
                <a:rPr lang="ja-JP" altLang="es-ES" sz="900" kern="0" dirty="0">
                  <a:solidFill>
                    <a:srgbClr val="505050"/>
                  </a:solidFill>
                  <a:latin typeface="Century Gothic"/>
                  <a:cs typeface="Century Gothic"/>
                </a:rPr>
                <a:t>ドキュメント処理・検索</a:t>
              </a:r>
              <a:endParaRPr sz="900" kern="0" dirty="0">
                <a:solidFill>
                  <a:srgbClr val="505050"/>
                </a:solidFill>
                <a:latin typeface="Century Gothic"/>
                <a:cs typeface="Century Gothic"/>
              </a:endParaRPr>
            </a:p>
          </p:txBody>
        </p:sp>
        <p:grpSp>
          <p:nvGrpSpPr>
            <p:cNvPr id="65" name="Grupo 46">
              <a:extLst>
                <a:ext uri="{FF2B5EF4-FFF2-40B4-BE49-F238E27FC236}">
                  <a16:creationId xmlns:a16="http://schemas.microsoft.com/office/drawing/2014/main" id="{0FF0FAB6-ECDD-47FB-9C05-54B96E8D250E}"/>
                </a:ext>
              </a:extLst>
            </p:cNvPr>
            <p:cNvGrpSpPr/>
            <p:nvPr/>
          </p:nvGrpSpPr>
          <p:grpSpPr>
            <a:xfrm>
              <a:off x="10275127" y="5374747"/>
              <a:ext cx="1172329" cy="863401"/>
              <a:chOff x="9101478" y="4227041"/>
              <a:chExt cx="1172329" cy="863401"/>
            </a:xfrm>
          </p:grpSpPr>
          <p:pic>
            <p:nvPicPr>
              <p:cNvPr id="70" name="Imagem 84">
                <a:extLst>
                  <a:ext uri="{FF2B5EF4-FFF2-40B4-BE49-F238E27FC236}">
                    <a16:creationId xmlns:a16="http://schemas.microsoft.com/office/drawing/2014/main" id="{696ADC69-3B6B-48F1-94B8-4FC9840DF29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399862" y="4227041"/>
                <a:ext cx="591342" cy="504000"/>
              </a:xfrm>
              <a:prstGeom prst="rect">
                <a:avLst/>
              </a:prstGeom>
            </p:spPr>
          </p:pic>
          <p:sp>
            <p:nvSpPr>
              <p:cNvPr id="71" name="Our solution permits to design conversational flows, making the User Experience more fluid and natural">
                <a:extLst>
                  <a:ext uri="{FF2B5EF4-FFF2-40B4-BE49-F238E27FC236}">
                    <a16:creationId xmlns:a16="http://schemas.microsoft.com/office/drawing/2014/main" id="{0F42412F-2ECB-44D3-BD5E-8D4B7C960ACE}"/>
                  </a:ext>
                </a:extLst>
              </p:cNvPr>
              <p:cNvSpPr/>
              <p:nvPr/>
            </p:nvSpPr>
            <p:spPr>
              <a:xfrm>
                <a:off x="9101478" y="4744074"/>
                <a:ext cx="1172329" cy="346368"/>
              </a:xfrm>
              <a:prstGeom prst="rect">
                <a:avLst/>
              </a:prstGeom>
              <a:ln w="12700">
                <a:miter lim="400000"/>
              </a:ln>
              <a:extLst>
                <a:ext uri="{C572A759-6A51-4108-AA02-DFA0A04FC94B}">
                  <ma14:wrappingTextBoxFlag xmlns="" xmlns:ma14="http://schemas.microsoft.com/office/mac/drawingml/2011/main" val="1"/>
                </a:ext>
              </a:extLst>
            </p:spPr>
            <p:txBody>
              <a:bodyPr wrap="square" lIns="91497" tIns="91499" rIns="91497" bIns="91499">
                <a:spAutoFit/>
              </a:bodyPr>
              <a:lstStyle>
                <a:lvl1pPr defTabSz="1218987">
                  <a:defRPr sz="1400">
                    <a:solidFill>
                      <a:srgbClr val="000000"/>
                    </a:solidFill>
                    <a:latin typeface="Ubuntu Light"/>
                    <a:ea typeface="Ubuntu Light"/>
                    <a:cs typeface="Ubuntu Light"/>
                    <a:sym typeface="Ubuntu Light"/>
                  </a:defRPr>
                </a:lvl1pPr>
              </a:lstStyle>
              <a:p>
                <a:pPr algn="ctr" hangingPunct="0"/>
                <a:r>
                  <a:rPr lang="ja-JP" altLang="es-ES" sz="1000" kern="0" dirty="0">
                    <a:solidFill>
                      <a:srgbClr val="505050"/>
                    </a:solidFill>
                    <a:latin typeface="Century Gothic"/>
                    <a:cs typeface="Century Gothic"/>
                  </a:rPr>
                  <a:t>会話内容の特定</a:t>
                </a:r>
                <a:endParaRPr sz="1000" kern="0" dirty="0">
                  <a:solidFill>
                    <a:srgbClr val="505050"/>
                  </a:solidFill>
                  <a:latin typeface="Century Gothic"/>
                  <a:cs typeface="Century Gothic"/>
                </a:endParaRPr>
              </a:p>
            </p:txBody>
          </p:sp>
        </p:grpSp>
        <p:grpSp>
          <p:nvGrpSpPr>
            <p:cNvPr id="72" name="Grupo 49">
              <a:extLst>
                <a:ext uri="{FF2B5EF4-FFF2-40B4-BE49-F238E27FC236}">
                  <a16:creationId xmlns:a16="http://schemas.microsoft.com/office/drawing/2014/main" id="{7CF7E4C2-68B1-4C31-B759-97497C6893A7}"/>
                </a:ext>
              </a:extLst>
            </p:cNvPr>
            <p:cNvGrpSpPr/>
            <p:nvPr/>
          </p:nvGrpSpPr>
          <p:grpSpPr>
            <a:xfrm>
              <a:off x="8891354" y="5282577"/>
              <a:ext cx="1194054" cy="1088500"/>
              <a:chOff x="9155889" y="3197193"/>
              <a:chExt cx="1194054" cy="1088500"/>
            </a:xfrm>
          </p:grpSpPr>
          <p:pic>
            <p:nvPicPr>
              <p:cNvPr id="73" name="Imagem 87">
                <a:extLst>
                  <a:ext uri="{FF2B5EF4-FFF2-40B4-BE49-F238E27FC236}">
                    <a16:creationId xmlns:a16="http://schemas.microsoft.com/office/drawing/2014/main" id="{5A847D4B-CB18-418D-A342-57862E33E825}"/>
                  </a:ext>
                </a:extLst>
              </p:cNvPr>
              <p:cNvPicPr>
                <a:picLocks noChangeAspect="1"/>
              </p:cNvPicPr>
              <p:nvPr/>
            </p:nvPicPr>
            <p:blipFill>
              <a:blip r:embed="rId16" cstate="print">
                <a:grayscl/>
                <a:extLst>
                  <a:ext uri="{28A0092B-C50C-407E-A947-70E740481C1C}">
                    <a14:useLocalDpi xmlns:a14="http://schemas.microsoft.com/office/drawing/2010/main" val="0"/>
                  </a:ext>
                </a:extLst>
              </a:blip>
              <a:stretch>
                <a:fillRect/>
              </a:stretch>
            </p:blipFill>
            <p:spPr>
              <a:xfrm>
                <a:off x="9441606" y="3197193"/>
                <a:ext cx="648571" cy="504000"/>
              </a:xfrm>
              <a:prstGeom prst="rect">
                <a:avLst/>
              </a:prstGeom>
            </p:spPr>
          </p:pic>
          <p:sp>
            <p:nvSpPr>
              <p:cNvPr id="74" name="Our solution permits to design conversational flows, making the User Experience more fluid and natural">
                <a:extLst>
                  <a:ext uri="{FF2B5EF4-FFF2-40B4-BE49-F238E27FC236}">
                    <a16:creationId xmlns:a16="http://schemas.microsoft.com/office/drawing/2014/main" id="{452AA699-45F1-4BEC-92E6-E5CA8B4059EB}"/>
                  </a:ext>
                </a:extLst>
              </p:cNvPr>
              <p:cNvSpPr/>
              <p:nvPr/>
            </p:nvSpPr>
            <p:spPr>
              <a:xfrm>
                <a:off x="9155889" y="3777743"/>
                <a:ext cx="1194054" cy="507950"/>
              </a:xfrm>
              <a:prstGeom prst="rect">
                <a:avLst/>
              </a:prstGeom>
              <a:ln w="12700">
                <a:miter lim="400000"/>
              </a:ln>
              <a:extLst>
                <a:ext uri="{C572A759-6A51-4108-AA02-DFA0A04FC94B}">
                  <ma14:wrappingTextBoxFlag xmlns="" xmlns:ma14="http://schemas.microsoft.com/office/mac/drawingml/2011/main" val="1"/>
                </a:ext>
              </a:extLst>
            </p:spPr>
            <p:txBody>
              <a:bodyPr wrap="square" lIns="91497" tIns="91499" rIns="91497" bIns="91499">
                <a:spAutoFit/>
              </a:bodyPr>
              <a:lstStyle>
                <a:lvl1pPr defTabSz="1218987">
                  <a:defRPr sz="1400">
                    <a:solidFill>
                      <a:srgbClr val="000000"/>
                    </a:solidFill>
                    <a:latin typeface="Ubuntu Light"/>
                    <a:ea typeface="Ubuntu Light"/>
                    <a:cs typeface="Ubuntu Light"/>
                    <a:sym typeface="Ubuntu Light"/>
                  </a:defRPr>
                </a:lvl1pPr>
              </a:lstStyle>
              <a:p>
                <a:pPr algn="ctr" hangingPunct="0"/>
                <a:r>
                  <a:rPr lang="ja-JP" altLang="es-ES" sz="1000" kern="0" dirty="0">
                    <a:solidFill>
                      <a:srgbClr val="505050"/>
                    </a:solidFill>
                    <a:latin typeface="Century Gothic"/>
                    <a:cs typeface="Century Gothic"/>
                  </a:rPr>
                  <a:t>自然言語処理</a:t>
                </a:r>
                <a:endParaRPr lang="es-ES" altLang="ja-JP" sz="1000" kern="0" dirty="0">
                  <a:solidFill>
                    <a:srgbClr val="505050"/>
                  </a:solidFill>
                  <a:latin typeface="Century Gothic"/>
                  <a:cs typeface="Century Gothic"/>
                </a:endParaRPr>
              </a:p>
              <a:p>
                <a:pPr algn="ctr" hangingPunct="0"/>
                <a:r>
                  <a:rPr lang="ja-JP" altLang="es-ES" sz="1000" kern="0" dirty="0">
                    <a:solidFill>
                      <a:srgbClr val="505050"/>
                    </a:solidFill>
                    <a:latin typeface="Century Gothic"/>
                    <a:cs typeface="Century Gothic"/>
                  </a:rPr>
                  <a:t>モデル</a:t>
                </a:r>
                <a:endParaRPr sz="1000" kern="0" dirty="0">
                  <a:solidFill>
                    <a:srgbClr val="505050"/>
                  </a:solidFill>
                  <a:latin typeface="Century Gothic"/>
                  <a:cs typeface="Century Gothic"/>
                </a:endParaRPr>
              </a:p>
            </p:txBody>
          </p:sp>
        </p:grpSp>
        <p:sp>
          <p:nvSpPr>
            <p:cNvPr id="75" name="Rectángulo 16">
              <a:extLst>
                <a:ext uri="{FF2B5EF4-FFF2-40B4-BE49-F238E27FC236}">
                  <a16:creationId xmlns:a16="http://schemas.microsoft.com/office/drawing/2014/main" id="{067F04CD-3B9D-428B-B8AB-FC96C53CE655}"/>
                </a:ext>
              </a:extLst>
            </p:cNvPr>
            <p:cNvSpPr/>
            <p:nvPr/>
          </p:nvSpPr>
          <p:spPr>
            <a:xfrm>
              <a:off x="8687983" y="3508596"/>
              <a:ext cx="1220007" cy="612000"/>
            </a:xfrm>
            <a:prstGeom prst="roundRect">
              <a:avLst>
                <a:gd name="adj" fmla="val 10838"/>
              </a:avLst>
            </a:prstGeom>
            <a:solidFill>
              <a:srgbClr val="FFFFFF"/>
            </a:solidFill>
            <a:ln w="3175" cap="flat" cmpd="sng" algn="ctr">
              <a:solidFill>
                <a:srgbClr val="50505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altLang="ja-JP" sz="1000" b="0" i="0" u="none" strike="noStrike" kern="0" cap="none" spc="0" normalizeH="0" baseline="0" noProof="0" dirty="0">
                  <a:ln>
                    <a:noFill/>
                  </a:ln>
                  <a:solidFill>
                    <a:srgbClr val="505050"/>
                  </a:solidFill>
                  <a:effectLst/>
                  <a:uLnTx/>
                  <a:uFillTx/>
                  <a:latin typeface="Century Gothic" panose="020F0302020204030204"/>
                  <a:ea typeface="メイリオ" panose="020B0604030504040204" pitchFamily="34" charset="-128"/>
                  <a:cs typeface="+mn-cs"/>
                </a:rPr>
                <a:t>RPA</a:t>
              </a:r>
              <a:r>
                <a:rPr kumimoji="0" lang="ja-JP" altLang="es-ES" sz="1000" b="0" i="0" u="none" strike="noStrike" kern="0" cap="none" spc="0" normalizeH="0" baseline="0" noProof="0" dirty="0">
                  <a:ln>
                    <a:noFill/>
                  </a:ln>
                  <a:solidFill>
                    <a:srgbClr val="505050"/>
                  </a:solidFill>
                  <a:effectLst/>
                  <a:uLnTx/>
                  <a:uFillTx/>
                  <a:latin typeface="Century Gothic" panose="020F0302020204030204"/>
                  <a:ea typeface="メイリオ" panose="020B0604030504040204" pitchFamily="34" charset="-128"/>
                  <a:cs typeface="+mn-cs"/>
                </a:rPr>
                <a:t>による</a:t>
              </a:r>
              <a:endParaRPr kumimoji="0" lang="es-ES" altLang="ja-JP" sz="1000" b="0" i="0" u="none" strike="noStrike" kern="0" cap="none" spc="0" normalizeH="0" baseline="0" noProof="0" dirty="0">
                <a:ln>
                  <a:noFill/>
                </a:ln>
                <a:solidFill>
                  <a:srgbClr val="505050"/>
                </a:solidFill>
                <a:effectLst/>
                <a:uLnTx/>
                <a:uFillTx/>
                <a:latin typeface="Century Gothic" panose="020F0302020204030204"/>
                <a:ea typeface="メイリオ" panose="020B0604030504040204" pitchFamily="34"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s-ES" sz="1000" b="0" i="0" u="none" strike="noStrike" kern="0" cap="none" spc="0" normalizeH="0" baseline="0" noProof="0" dirty="0">
                  <a:ln>
                    <a:noFill/>
                  </a:ln>
                  <a:solidFill>
                    <a:srgbClr val="505050"/>
                  </a:solidFill>
                  <a:effectLst/>
                  <a:uLnTx/>
                  <a:uFillTx/>
                  <a:latin typeface="Century Gothic" panose="020F0302020204030204"/>
                  <a:ea typeface="メイリオ" panose="020B0604030504040204" pitchFamily="34" charset="-128"/>
                  <a:cs typeface="+mn-cs"/>
                </a:rPr>
                <a:t>ロジック適応</a:t>
              </a:r>
              <a:endParaRPr kumimoji="0" lang="pt-BR" sz="1000" b="0" i="0" u="none" strike="noStrike" kern="0" cap="none" spc="0" normalizeH="0" baseline="0" noProof="0" dirty="0">
                <a:ln>
                  <a:noFill/>
                </a:ln>
                <a:solidFill>
                  <a:srgbClr val="505050"/>
                </a:solidFill>
                <a:effectLst/>
                <a:uLnTx/>
                <a:uFillTx/>
                <a:latin typeface="Century Gothic" panose="020F0302020204030204"/>
                <a:cs typeface="+mn-cs"/>
              </a:endParaRPr>
            </a:p>
          </p:txBody>
        </p:sp>
        <p:sp>
          <p:nvSpPr>
            <p:cNvPr id="78" name="Rectángulo 16">
              <a:extLst>
                <a:ext uri="{FF2B5EF4-FFF2-40B4-BE49-F238E27FC236}">
                  <a16:creationId xmlns:a16="http://schemas.microsoft.com/office/drawing/2014/main" id="{5A64C628-9740-4DCF-9F5F-ABECD6C3BBDF}"/>
                </a:ext>
              </a:extLst>
            </p:cNvPr>
            <p:cNvSpPr/>
            <p:nvPr/>
          </p:nvSpPr>
          <p:spPr>
            <a:xfrm>
              <a:off x="9665124" y="4512481"/>
              <a:ext cx="1220007" cy="612000"/>
            </a:xfrm>
            <a:prstGeom prst="roundRect">
              <a:avLst>
                <a:gd name="adj" fmla="val 10838"/>
              </a:avLst>
            </a:prstGeom>
            <a:solidFill>
              <a:srgbClr val="FFFFFF"/>
            </a:solidFill>
            <a:ln w="3175" cap="flat" cmpd="sng" algn="ctr">
              <a:solidFill>
                <a:srgbClr val="50505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s-ES" sz="1000" b="0" i="0" u="none" strike="noStrike" kern="0" cap="none" spc="0" normalizeH="0" baseline="0" noProof="0" dirty="0">
                  <a:ln>
                    <a:noFill/>
                  </a:ln>
                  <a:solidFill>
                    <a:srgbClr val="505050"/>
                  </a:solidFill>
                  <a:effectLst/>
                  <a:uLnTx/>
                  <a:uFillTx/>
                  <a:latin typeface="Century Gothic" panose="020F0302020204030204"/>
                  <a:ea typeface="メイリオ" panose="020B0604030504040204" pitchFamily="34" charset="-128"/>
                  <a:cs typeface="+mn-cs"/>
                </a:rPr>
                <a:t>文章作成</a:t>
              </a:r>
              <a:endParaRPr kumimoji="0" lang="es-ES" altLang="ja-JP" sz="1000" b="0" i="0" u="none" strike="noStrike" kern="0" cap="none" spc="0" normalizeH="0" baseline="0" noProof="0" dirty="0">
                <a:ln>
                  <a:noFill/>
                </a:ln>
                <a:solidFill>
                  <a:srgbClr val="505050"/>
                </a:solidFill>
                <a:effectLst/>
                <a:uLnTx/>
                <a:uFillTx/>
                <a:latin typeface="Century Gothic" panose="020F0302020204030204"/>
                <a:ea typeface="メイリオ" panose="020B0604030504040204" pitchFamily="34" charset="-128"/>
                <a:cs typeface="+mn-cs"/>
              </a:endParaRPr>
            </a:p>
          </p:txBody>
        </p:sp>
        <p:pic>
          <p:nvPicPr>
            <p:cNvPr id="79" name="Picture 103" descr="Resultado de imagen para hand drawn arrow">
              <a:extLst>
                <a:ext uri="{FF2B5EF4-FFF2-40B4-BE49-F238E27FC236}">
                  <a16:creationId xmlns:a16="http://schemas.microsoft.com/office/drawing/2014/main" id="{198A9874-2582-41DA-A321-D59623B669F2}"/>
                </a:ext>
              </a:extLst>
            </p:cNvPr>
            <p:cNvPicPr>
              <a:picLocks noChangeAspect="1" noChangeArrowheads="1"/>
            </p:cNvPicPr>
            <p:nvPr/>
          </p:nvPicPr>
          <p:blipFill>
            <a:blip r:embed="rId17" cstate="print">
              <a:duotone>
                <a:prstClr val="black"/>
                <a:srgbClr val="C55A11">
                  <a:tint val="45000"/>
                  <a:satMod val="400000"/>
                </a:srgbClr>
              </a:duotone>
              <a:extLst>
                <a:ext uri="{28A0092B-C50C-407E-A947-70E740481C1C}">
                  <a14:useLocalDpi xmlns:a14="http://schemas.microsoft.com/office/drawing/2010/main" val="0"/>
                </a:ext>
              </a:extLst>
            </a:blip>
            <a:srcRect/>
            <a:stretch>
              <a:fillRect/>
            </a:stretch>
          </p:blipFill>
          <p:spPr bwMode="auto">
            <a:xfrm rot="10800000" flipH="1">
              <a:off x="9045599" y="4281562"/>
              <a:ext cx="520338" cy="520338"/>
            </a:xfrm>
            <a:prstGeom prst="rect">
              <a:avLst/>
            </a:prstGeom>
            <a:noFill/>
            <a:extLst>
              <a:ext uri="{909E8E84-426E-40DD-AFC4-6F175D3DCCD1}">
                <a14:hiddenFill xmlns:a14="http://schemas.microsoft.com/office/drawing/2010/main">
                  <a:solidFill>
                    <a:srgbClr val="FFFFFF"/>
                  </a:solidFill>
                </a14:hiddenFill>
              </a:ext>
            </a:extLst>
          </p:spPr>
        </p:pic>
        <p:sp>
          <p:nvSpPr>
            <p:cNvPr id="80" name="Chave esquerda 56">
              <a:extLst>
                <a:ext uri="{FF2B5EF4-FFF2-40B4-BE49-F238E27FC236}">
                  <a16:creationId xmlns:a16="http://schemas.microsoft.com/office/drawing/2014/main" id="{E7756B00-798F-4381-B558-AC46B1DAF14F}"/>
                </a:ext>
              </a:extLst>
            </p:cNvPr>
            <p:cNvSpPr/>
            <p:nvPr/>
          </p:nvSpPr>
          <p:spPr>
            <a:xfrm>
              <a:off x="10033273" y="3373128"/>
              <a:ext cx="151158" cy="887172"/>
            </a:xfrm>
            <a:prstGeom prst="leftBrace">
              <a:avLst/>
            </a:prstGeom>
            <a:noFill/>
            <a:ln w="6350" cap="flat" cmpd="sng" algn="ctr">
              <a:solidFill>
                <a:srgbClr val="6E8B9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600" b="0" i="0" u="none" strike="noStrike" kern="0" cap="none" spc="0" normalizeH="0" baseline="0" noProof="0">
                <a:ln>
                  <a:noFill/>
                </a:ln>
                <a:solidFill>
                  <a:srgbClr val="505050"/>
                </a:solidFill>
                <a:effectLst/>
                <a:uLnTx/>
                <a:uFillTx/>
                <a:latin typeface="Century Gothic" panose="020F0302020204030204"/>
                <a:ea typeface="+mn-ea"/>
                <a:cs typeface="+mn-cs"/>
              </a:endParaRPr>
            </a:p>
          </p:txBody>
        </p:sp>
        <p:grpSp>
          <p:nvGrpSpPr>
            <p:cNvPr id="81" name="Grupo 58">
              <a:extLst>
                <a:ext uri="{FF2B5EF4-FFF2-40B4-BE49-F238E27FC236}">
                  <a16:creationId xmlns:a16="http://schemas.microsoft.com/office/drawing/2014/main" id="{79C5F579-FAE0-46F6-AB05-B7AA99700769}"/>
                </a:ext>
              </a:extLst>
            </p:cNvPr>
            <p:cNvGrpSpPr/>
            <p:nvPr/>
          </p:nvGrpSpPr>
          <p:grpSpPr>
            <a:xfrm>
              <a:off x="10983572" y="4444944"/>
              <a:ext cx="364370" cy="789332"/>
              <a:chOff x="9997902" y="4106493"/>
              <a:chExt cx="364370" cy="789332"/>
            </a:xfrm>
          </p:grpSpPr>
          <p:sp>
            <p:nvSpPr>
              <p:cNvPr id="82" name="Retângulo de cantos arredondados 59">
                <a:extLst>
                  <a:ext uri="{FF2B5EF4-FFF2-40B4-BE49-F238E27FC236}">
                    <a16:creationId xmlns:a16="http://schemas.microsoft.com/office/drawing/2014/main" id="{6AE8A237-FB85-4C00-867C-519FCECF6D4C}"/>
                  </a:ext>
                </a:extLst>
              </p:cNvPr>
              <p:cNvSpPr/>
              <p:nvPr/>
            </p:nvSpPr>
            <p:spPr>
              <a:xfrm>
                <a:off x="9997902" y="4106493"/>
                <a:ext cx="364370" cy="789332"/>
              </a:xfrm>
              <a:prstGeom prst="roundRect">
                <a:avLst/>
              </a:prstGeom>
              <a:solidFill>
                <a:srgbClr val="505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6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86" name="Elipse 85">
                <a:extLst>
                  <a:ext uri="{FF2B5EF4-FFF2-40B4-BE49-F238E27FC236}">
                    <a16:creationId xmlns:a16="http://schemas.microsoft.com/office/drawing/2014/main" id="{29C25F0A-3EE2-40E3-993A-E313FED2EA34}"/>
                  </a:ext>
                </a:extLst>
              </p:cNvPr>
              <p:cNvSpPr/>
              <p:nvPr/>
            </p:nvSpPr>
            <p:spPr>
              <a:xfrm>
                <a:off x="10090087" y="4171193"/>
                <a:ext cx="180000" cy="180000"/>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6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87" name="Elipse 86">
                <a:extLst>
                  <a:ext uri="{FF2B5EF4-FFF2-40B4-BE49-F238E27FC236}">
                    <a16:creationId xmlns:a16="http://schemas.microsoft.com/office/drawing/2014/main" id="{70D10FF2-23C2-4BA3-8F35-AFB0AF3D2BD2}"/>
                  </a:ext>
                </a:extLst>
              </p:cNvPr>
              <p:cNvSpPr/>
              <p:nvPr/>
            </p:nvSpPr>
            <p:spPr>
              <a:xfrm>
                <a:off x="10090087" y="4396764"/>
                <a:ext cx="180000" cy="180000"/>
              </a:xfrm>
              <a:prstGeom prst="ellipse">
                <a:avLst/>
              </a:prstGeom>
              <a:solidFill>
                <a:srgbClr val="EAD32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6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sp>
            <p:nvSpPr>
              <p:cNvPr id="88" name="Elipse 87">
                <a:extLst>
                  <a:ext uri="{FF2B5EF4-FFF2-40B4-BE49-F238E27FC236}">
                    <a16:creationId xmlns:a16="http://schemas.microsoft.com/office/drawing/2014/main" id="{1FEAC647-6C71-4D7D-8B8E-64F4983B5D52}"/>
                  </a:ext>
                </a:extLst>
              </p:cNvPr>
              <p:cNvSpPr/>
              <p:nvPr/>
            </p:nvSpPr>
            <p:spPr>
              <a:xfrm>
                <a:off x="10090087" y="4622335"/>
                <a:ext cx="180000" cy="180000"/>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6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grpSp>
      </p:grpSp>
      <p:sp>
        <p:nvSpPr>
          <p:cNvPr id="89" name="CaixaDeTexto 93">
            <a:extLst>
              <a:ext uri="{FF2B5EF4-FFF2-40B4-BE49-F238E27FC236}">
                <a16:creationId xmlns:a16="http://schemas.microsoft.com/office/drawing/2014/main" id="{56AF1150-EB45-48C8-B21E-FB6DA7FDD42D}"/>
              </a:ext>
            </a:extLst>
          </p:cNvPr>
          <p:cNvSpPr txBox="1"/>
          <p:nvPr/>
        </p:nvSpPr>
        <p:spPr>
          <a:xfrm>
            <a:off x="9936239" y="3612902"/>
            <a:ext cx="2074990" cy="1015663"/>
          </a:xfrm>
          <a:prstGeom prst="rect">
            <a:avLst/>
          </a:prstGeom>
          <a:noFill/>
        </p:spPr>
        <p:txBody>
          <a:bodyPr wrap="square" rtlCol="0">
            <a:spAutoFit/>
          </a:bodyPr>
          <a:lstStyle/>
          <a:p>
            <a:r>
              <a:rPr lang="ja-JP" altLang="es-ES" sz="1000" dirty="0">
                <a:solidFill>
                  <a:srgbClr val="505050"/>
                </a:solidFill>
                <a:ea typeface="メイリオ" panose="020B0604030504040204" pitchFamily="34" charset="-128"/>
              </a:rPr>
              <a:t>ロボットにて特定</a:t>
            </a:r>
            <a:endParaRPr lang="es-ES" altLang="ja-JP" sz="1000" dirty="0">
              <a:solidFill>
                <a:srgbClr val="505050"/>
              </a:solidFill>
              <a:ea typeface="メイリオ" panose="020B0604030504040204" pitchFamily="34" charset="-128"/>
            </a:endParaRPr>
          </a:p>
          <a:p>
            <a:endParaRPr lang="es-ES" altLang="ja-JP" sz="1000" dirty="0">
              <a:solidFill>
                <a:srgbClr val="505050"/>
              </a:solidFill>
              <a:ea typeface="メイリオ" panose="020B0604030504040204" pitchFamily="34" charset="-128"/>
            </a:endParaRPr>
          </a:p>
          <a:p>
            <a:pPr marL="171450" indent="-171450">
              <a:buFont typeface="Arial" panose="020B0604020202020204" pitchFamily="34" charset="0"/>
              <a:buChar char="•"/>
            </a:pPr>
            <a:r>
              <a:rPr lang="ja-JP" altLang="es-ES" sz="1000" dirty="0">
                <a:solidFill>
                  <a:srgbClr val="505050"/>
                </a:solidFill>
                <a:ea typeface="メイリオ" panose="020B0604030504040204" pitchFamily="34" charset="-128"/>
              </a:rPr>
              <a:t>不満に係わるフレーズ</a:t>
            </a:r>
            <a:endParaRPr lang="es-ES" altLang="ja-JP" sz="1000" dirty="0">
              <a:solidFill>
                <a:srgbClr val="505050"/>
              </a:solidFill>
              <a:ea typeface="メイリオ" panose="020B0604030504040204" pitchFamily="34" charset="-128"/>
            </a:endParaRPr>
          </a:p>
          <a:p>
            <a:pPr marL="171450" indent="-171450">
              <a:buFont typeface="Arial" panose="020B0604020202020204" pitchFamily="34" charset="0"/>
              <a:buChar char="•"/>
            </a:pPr>
            <a:r>
              <a:rPr lang="ja-JP" altLang="es-ES" sz="1000" dirty="0">
                <a:solidFill>
                  <a:srgbClr val="505050"/>
                </a:solidFill>
                <a:ea typeface="メイリオ" panose="020B0604030504040204" pitchFamily="34" charset="-128"/>
              </a:rPr>
              <a:t>誤った情報</a:t>
            </a:r>
            <a:endParaRPr lang="es-ES" altLang="ja-JP" sz="1000" dirty="0">
              <a:solidFill>
                <a:srgbClr val="505050"/>
              </a:solidFill>
              <a:ea typeface="メイリオ" panose="020B0604030504040204" pitchFamily="34" charset="-128"/>
            </a:endParaRPr>
          </a:p>
          <a:p>
            <a:pPr marL="171450" indent="-171450">
              <a:buFont typeface="Arial" panose="020B0604020202020204" pitchFamily="34" charset="0"/>
              <a:buChar char="•"/>
            </a:pPr>
            <a:r>
              <a:rPr lang="ja-JP" altLang="es-ES" sz="1000" dirty="0">
                <a:solidFill>
                  <a:srgbClr val="505050"/>
                </a:solidFill>
                <a:ea typeface="メイリオ" panose="020B0604030504040204" pitchFamily="34" charset="-128"/>
              </a:rPr>
              <a:t>イントネーション</a:t>
            </a:r>
            <a:endParaRPr lang="es-ES" altLang="ja-JP" sz="1000" dirty="0">
              <a:solidFill>
                <a:srgbClr val="505050"/>
              </a:solidFill>
              <a:ea typeface="メイリオ" panose="020B0604030504040204" pitchFamily="34" charset="-128"/>
            </a:endParaRPr>
          </a:p>
          <a:p>
            <a:pPr marL="171450" indent="-171450">
              <a:buFont typeface="Arial" panose="020B0604020202020204" pitchFamily="34" charset="0"/>
              <a:buChar char="•"/>
            </a:pPr>
            <a:r>
              <a:rPr lang="ja-JP" altLang="es-ES" sz="1000" dirty="0">
                <a:solidFill>
                  <a:srgbClr val="505050"/>
                </a:solidFill>
                <a:ea typeface="メイリオ" panose="020B0604030504040204" pitchFamily="34" charset="-128"/>
              </a:rPr>
              <a:t>皮肉　　　等</a:t>
            </a:r>
            <a:endParaRPr lang="es-ES" altLang="ja-JP" sz="1000" dirty="0">
              <a:solidFill>
                <a:srgbClr val="505050"/>
              </a:solidFill>
              <a:ea typeface="メイリオ" panose="020B0604030504040204" pitchFamily="34" charset="-128"/>
            </a:endParaRPr>
          </a:p>
        </p:txBody>
      </p:sp>
    </p:spTree>
    <p:extLst>
      <p:ext uri="{BB962C8B-B14F-4D97-AF65-F5344CB8AC3E}">
        <p14:creationId xmlns:p14="http://schemas.microsoft.com/office/powerpoint/2010/main" val="4188725933"/>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p:cNvPicPr>
            <a:picLocks noChangeAspect="1"/>
          </p:cNvPicPr>
          <p:nvPr/>
        </p:nvPicPr>
        <p:blipFill>
          <a:blip r:embed="rId9"/>
          <a:stretch>
            <a:fillRect/>
          </a:stretch>
        </p:blipFill>
        <p:spPr>
          <a:xfrm>
            <a:off x="5966499" y="1388976"/>
            <a:ext cx="5672234" cy="5071459"/>
          </a:xfrm>
          <a:prstGeom prst="rect">
            <a:avLst/>
          </a:prstGeom>
        </p:spPr>
      </p:pic>
      <p:sp>
        <p:nvSpPr>
          <p:cNvPr id="4" name="Marcador de texto 3"/>
          <p:cNvSpPr>
            <a:spLocks noGrp="1"/>
          </p:cNvSpPr>
          <p:nvPr>
            <p:ph type="body" sz="quarter" idx="21"/>
          </p:nvPr>
        </p:nvSpPr>
        <p:spPr/>
        <p:txBody>
          <a:bodyPr/>
          <a:lstStyle/>
          <a:p>
            <a:r>
              <a:rPr lang="es-ES" altLang="ja-JP" sz="2400" dirty="0"/>
              <a:t>0</a:t>
            </a:r>
            <a:r>
              <a:rPr lang="en-US" altLang="ja-JP" sz="2400" dirty="0"/>
              <a:t>4</a:t>
            </a:r>
            <a:r>
              <a:rPr lang="es-ES" altLang="ja-JP" sz="2400" dirty="0"/>
              <a:t>. </a:t>
            </a:r>
            <a:r>
              <a:rPr lang="ja-JP" altLang="es-ES" sz="2400" dirty="0"/>
              <a:t>事例</a:t>
            </a:r>
            <a:r>
              <a:rPr lang="es-ES" altLang="ja-JP" sz="2400" dirty="0"/>
              <a:t>:</a:t>
            </a:r>
            <a:r>
              <a:rPr lang="ja-JP" altLang="es-ES" sz="2400" dirty="0"/>
              <a:t> 物流業者様</a:t>
            </a:r>
            <a:endParaRPr lang="en-GB" sz="2400" dirty="0">
              <a:latin typeface="ＭＳ Ｐゴシック" panose="020B0600070205080204" pitchFamily="50" charset="-128"/>
              <a:ea typeface="ＭＳ Ｐゴシック" panose="020B0600070205080204" pitchFamily="50" charset="-128"/>
            </a:endParaRPr>
          </a:p>
        </p:txBody>
      </p:sp>
      <p:sp>
        <p:nvSpPr>
          <p:cNvPr id="5" name="Rectangle 158"/>
          <p:cNvSpPr/>
          <p:nvPr/>
        </p:nvSpPr>
        <p:spPr>
          <a:xfrm>
            <a:off x="677432" y="1376218"/>
            <a:ext cx="5239151" cy="1108566"/>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Century Gothic"/>
                <a:cs typeface="Helvetica"/>
              </a:rPr>
              <a:t>             </a:t>
            </a:r>
            <a:endParaRPr kumimoji="0" lang="en-US" sz="1600" b="0" i="0" u="none" strike="noStrike" kern="0" cap="none" spc="0" normalizeH="0" baseline="0" noProof="0" dirty="0">
              <a:ln>
                <a:noFill/>
              </a:ln>
              <a:solidFill>
                <a:prstClr val="black"/>
              </a:solidFill>
              <a:effectLst/>
              <a:uLnTx/>
              <a:uFillTx/>
              <a:latin typeface="Century Gothic"/>
              <a:cs typeface="Helvetica"/>
            </a:endParaRPr>
          </a:p>
        </p:txBody>
      </p:sp>
      <p:sp>
        <p:nvSpPr>
          <p:cNvPr id="6" name="Rectangle 159"/>
          <p:cNvSpPr/>
          <p:nvPr/>
        </p:nvSpPr>
        <p:spPr>
          <a:xfrm>
            <a:off x="511453" y="1376218"/>
            <a:ext cx="165980" cy="5084218"/>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black"/>
              </a:solidFill>
              <a:effectLst/>
              <a:uLnTx/>
              <a:uFillTx/>
              <a:latin typeface="Century Gothic"/>
              <a:cs typeface="Helvetica"/>
            </a:endParaRPr>
          </a:p>
        </p:txBody>
      </p:sp>
      <p:grpSp>
        <p:nvGrpSpPr>
          <p:cNvPr id="7" name="Group 14">
            <a:extLst>
              <a:ext uri="{FF2B5EF4-FFF2-40B4-BE49-F238E27FC236}">
                <a16:creationId xmlns:a16="http://schemas.microsoft.com/office/drawing/2014/main" id="{1C37A94A-2FB5-48D0-A786-B43F2FD416E0}"/>
              </a:ext>
            </a:extLst>
          </p:cNvPr>
          <p:cNvGrpSpPr/>
          <p:nvPr/>
        </p:nvGrpSpPr>
        <p:grpSpPr>
          <a:xfrm>
            <a:off x="759417" y="1474749"/>
            <a:ext cx="552985" cy="552985"/>
            <a:chOff x="761861" y="3510594"/>
            <a:chExt cx="552985" cy="552985"/>
          </a:xfrm>
        </p:grpSpPr>
        <p:sp>
          <p:nvSpPr>
            <p:cNvPr id="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grpSp>
          <p:nvGrpSpPr>
            <p:cNvPr id="10" name="Identification" descr="{&quot;Key&quot;:&quot;POWER_USER_SHAPE_ICON&quot;,&quot;Value&quot;:&quot;POWER_USER_SHAPE_ICON_STYLE_1&quot;}">
              <a:extLst>
                <a:ext uri="{FF2B5EF4-FFF2-40B4-BE49-F238E27FC236}">
                  <a16:creationId xmlns:a16="http://schemas.microsoft.com/office/drawing/2014/main" id="{A31C51EF-54B7-4BE6-A471-94D27E8E60C2}"/>
                </a:ext>
              </a:extLst>
            </p:cNvPr>
            <p:cNvGrpSpPr>
              <a:grpSpLocks noChangeAspect="1"/>
            </p:cNvGrpSpPr>
            <p:nvPr>
              <p:custDataLst>
                <p:tags r:id="rId5"/>
              </p:custDataLst>
            </p:nvPr>
          </p:nvGrpSpPr>
          <p:grpSpPr bwMode="auto">
            <a:xfrm>
              <a:off x="832266" y="3655978"/>
              <a:ext cx="415466" cy="259297"/>
              <a:chOff x="81" y="144"/>
              <a:chExt cx="282" cy="176"/>
            </a:xfrm>
            <a:solidFill>
              <a:schemeClr val="bg1"/>
            </a:solidFill>
          </p:grpSpPr>
          <p:sp>
            <p:nvSpPr>
              <p:cNvPr id="11" name="Identification">
                <a:extLst>
                  <a:ext uri="{FF2B5EF4-FFF2-40B4-BE49-F238E27FC236}">
                    <a16:creationId xmlns:a16="http://schemas.microsoft.com/office/drawing/2014/main" id="{33C0A75F-109D-445B-95D8-C18C514E0300}"/>
                  </a:ext>
                </a:extLst>
              </p:cNvPr>
              <p:cNvSpPr>
                <a:spLocks noEditPoints="1"/>
              </p:cNvSpPr>
              <p:nvPr>
                <p:custDataLst>
                  <p:tags r:id="rId6"/>
                </p:custDataLst>
              </p:nvPr>
            </p:nvSpPr>
            <p:spPr bwMode="auto">
              <a:xfrm>
                <a:off x="81" y="144"/>
                <a:ext cx="282" cy="176"/>
              </a:xfrm>
              <a:custGeom>
                <a:avLst/>
                <a:gdLst>
                  <a:gd name="T0" fmla="*/ 346 w 753"/>
                  <a:gd name="T1" fmla="*/ 164 h 467"/>
                  <a:gd name="T2" fmla="*/ 51 w 753"/>
                  <a:gd name="T3" fmla="*/ 164 h 467"/>
                  <a:gd name="T4" fmla="*/ 51 w 753"/>
                  <a:gd name="T5" fmla="*/ 206 h 467"/>
                  <a:gd name="T6" fmla="*/ 346 w 753"/>
                  <a:gd name="T7" fmla="*/ 206 h 467"/>
                  <a:gd name="T8" fmla="*/ 346 w 753"/>
                  <a:gd name="T9" fmla="*/ 164 h 467"/>
                  <a:gd name="T10" fmla="*/ 51 w 753"/>
                  <a:gd name="T11" fmla="*/ 363 h 467"/>
                  <a:gd name="T12" fmla="*/ 346 w 753"/>
                  <a:gd name="T13" fmla="*/ 363 h 467"/>
                  <a:gd name="T14" fmla="*/ 346 w 753"/>
                  <a:gd name="T15" fmla="*/ 321 h 467"/>
                  <a:gd name="T16" fmla="*/ 51 w 753"/>
                  <a:gd name="T17" fmla="*/ 321 h 467"/>
                  <a:gd name="T18" fmla="*/ 51 w 753"/>
                  <a:gd name="T19" fmla="*/ 363 h 467"/>
                  <a:gd name="T20" fmla="*/ 51 w 753"/>
                  <a:gd name="T21" fmla="*/ 85 h 467"/>
                  <a:gd name="T22" fmla="*/ 51 w 753"/>
                  <a:gd name="T23" fmla="*/ 127 h 467"/>
                  <a:gd name="T24" fmla="*/ 346 w 753"/>
                  <a:gd name="T25" fmla="*/ 127 h 467"/>
                  <a:gd name="T26" fmla="*/ 346 w 753"/>
                  <a:gd name="T27" fmla="*/ 85 h 467"/>
                  <a:gd name="T28" fmla="*/ 51 w 753"/>
                  <a:gd name="T29" fmla="*/ 85 h 467"/>
                  <a:gd name="T30" fmla="*/ 384 w 753"/>
                  <a:gd name="T31" fmla="*/ 119 h 467"/>
                  <a:gd name="T32" fmla="*/ 384 w 753"/>
                  <a:gd name="T33" fmla="*/ 328 h 467"/>
                  <a:gd name="T34" fmla="*/ 404 w 753"/>
                  <a:gd name="T35" fmla="*/ 321 h 467"/>
                  <a:gd name="T36" fmla="*/ 506 w 753"/>
                  <a:gd name="T37" fmla="*/ 276 h 467"/>
                  <a:gd name="T38" fmla="*/ 509 w 753"/>
                  <a:gd name="T39" fmla="*/ 276 h 467"/>
                  <a:gd name="T40" fmla="*/ 506 w 753"/>
                  <a:gd name="T41" fmla="*/ 274 h 467"/>
                  <a:gd name="T42" fmla="*/ 459 w 753"/>
                  <a:gd name="T43" fmla="*/ 165 h 467"/>
                  <a:gd name="T44" fmla="*/ 545 w 753"/>
                  <a:gd name="T45" fmla="*/ 76 h 467"/>
                  <a:gd name="T46" fmla="*/ 628 w 753"/>
                  <a:gd name="T47" fmla="*/ 167 h 467"/>
                  <a:gd name="T48" fmla="*/ 578 w 753"/>
                  <a:gd name="T49" fmla="*/ 275 h 467"/>
                  <a:gd name="T50" fmla="*/ 680 w 753"/>
                  <a:gd name="T51" fmla="*/ 321 h 467"/>
                  <a:gd name="T52" fmla="*/ 713 w 753"/>
                  <a:gd name="T53" fmla="*/ 337 h 467"/>
                  <a:gd name="T54" fmla="*/ 713 w 753"/>
                  <a:gd name="T55" fmla="*/ 119 h 467"/>
                  <a:gd name="T56" fmla="*/ 656 w 753"/>
                  <a:gd name="T57" fmla="*/ 61 h 467"/>
                  <a:gd name="T58" fmla="*/ 545 w 753"/>
                  <a:gd name="T59" fmla="*/ 61 h 467"/>
                  <a:gd name="T60" fmla="*/ 442 w 753"/>
                  <a:gd name="T61" fmla="*/ 61 h 467"/>
                  <a:gd name="T62" fmla="*/ 384 w 753"/>
                  <a:gd name="T63" fmla="*/ 119 h 467"/>
                  <a:gd name="T64" fmla="*/ 51 w 753"/>
                  <a:gd name="T65" fmla="*/ 242 h 467"/>
                  <a:gd name="T66" fmla="*/ 51 w 753"/>
                  <a:gd name="T67" fmla="*/ 284 h 467"/>
                  <a:gd name="T68" fmla="*/ 346 w 753"/>
                  <a:gd name="T69" fmla="*/ 284 h 467"/>
                  <a:gd name="T70" fmla="*/ 346 w 753"/>
                  <a:gd name="T71" fmla="*/ 242 h 467"/>
                  <a:gd name="T72" fmla="*/ 51 w 753"/>
                  <a:gd name="T73" fmla="*/ 242 h 467"/>
                  <a:gd name="T74" fmla="*/ 753 w 753"/>
                  <a:gd name="T75" fmla="*/ 414 h 467"/>
                  <a:gd name="T76" fmla="*/ 701 w 753"/>
                  <a:gd name="T77" fmla="*/ 467 h 467"/>
                  <a:gd name="T78" fmla="*/ 53 w 753"/>
                  <a:gd name="T79" fmla="*/ 467 h 467"/>
                  <a:gd name="T80" fmla="*/ 0 w 753"/>
                  <a:gd name="T81" fmla="*/ 414 h 467"/>
                  <a:gd name="T82" fmla="*/ 0 w 753"/>
                  <a:gd name="T83" fmla="*/ 53 h 467"/>
                  <a:gd name="T84" fmla="*/ 53 w 753"/>
                  <a:gd name="T85" fmla="*/ 0 h 467"/>
                  <a:gd name="T86" fmla="*/ 701 w 753"/>
                  <a:gd name="T87" fmla="*/ 0 h 467"/>
                  <a:gd name="T88" fmla="*/ 753 w 753"/>
                  <a:gd name="T89" fmla="*/ 53 h 467"/>
                  <a:gd name="T90" fmla="*/ 753 w 753"/>
                  <a:gd name="T91" fmla="*/ 41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3" h="467">
                    <a:moveTo>
                      <a:pt x="346" y="164"/>
                    </a:moveTo>
                    <a:lnTo>
                      <a:pt x="51" y="164"/>
                    </a:lnTo>
                    <a:lnTo>
                      <a:pt x="51" y="206"/>
                    </a:lnTo>
                    <a:lnTo>
                      <a:pt x="346" y="206"/>
                    </a:lnTo>
                    <a:lnTo>
                      <a:pt x="346" y="164"/>
                    </a:lnTo>
                    <a:close/>
                    <a:moveTo>
                      <a:pt x="51" y="363"/>
                    </a:moveTo>
                    <a:lnTo>
                      <a:pt x="346" y="363"/>
                    </a:lnTo>
                    <a:lnTo>
                      <a:pt x="346" y="321"/>
                    </a:lnTo>
                    <a:lnTo>
                      <a:pt x="51" y="321"/>
                    </a:lnTo>
                    <a:lnTo>
                      <a:pt x="51" y="363"/>
                    </a:lnTo>
                    <a:close/>
                    <a:moveTo>
                      <a:pt x="51" y="85"/>
                    </a:moveTo>
                    <a:lnTo>
                      <a:pt x="51" y="127"/>
                    </a:lnTo>
                    <a:lnTo>
                      <a:pt x="346" y="127"/>
                    </a:lnTo>
                    <a:lnTo>
                      <a:pt x="346" y="85"/>
                    </a:lnTo>
                    <a:lnTo>
                      <a:pt x="51" y="85"/>
                    </a:lnTo>
                    <a:close/>
                    <a:moveTo>
                      <a:pt x="384" y="119"/>
                    </a:moveTo>
                    <a:lnTo>
                      <a:pt x="384" y="328"/>
                    </a:lnTo>
                    <a:cubicBezTo>
                      <a:pt x="390" y="326"/>
                      <a:pt x="397" y="323"/>
                      <a:pt x="404" y="321"/>
                    </a:cubicBezTo>
                    <a:cubicBezTo>
                      <a:pt x="467" y="304"/>
                      <a:pt x="499" y="297"/>
                      <a:pt x="506" y="276"/>
                    </a:cubicBezTo>
                    <a:lnTo>
                      <a:pt x="509" y="276"/>
                    </a:lnTo>
                    <a:cubicBezTo>
                      <a:pt x="508" y="275"/>
                      <a:pt x="507" y="275"/>
                      <a:pt x="506" y="274"/>
                    </a:cubicBezTo>
                    <a:cubicBezTo>
                      <a:pt x="480" y="250"/>
                      <a:pt x="459" y="203"/>
                      <a:pt x="459" y="165"/>
                    </a:cubicBezTo>
                    <a:cubicBezTo>
                      <a:pt x="459" y="111"/>
                      <a:pt x="503" y="76"/>
                      <a:pt x="545" y="76"/>
                    </a:cubicBezTo>
                    <a:cubicBezTo>
                      <a:pt x="586" y="76"/>
                      <a:pt x="628" y="114"/>
                      <a:pt x="628" y="167"/>
                    </a:cubicBezTo>
                    <a:cubicBezTo>
                      <a:pt x="628" y="205"/>
                      <a:pt x="606" y="251"/>
                      <a:pt x="578" y="275"/>
                    </a:cubicBezTo>
                    <a:cubicBezTo>
                      <a:pt x="583" y="296"/>
                      <a:pt x="615" y="304"/>
                      <a:pt x="680" y="321"/>
                    </a:cubicBezTo>
                    <a:cubicBezTo>
                      <a:pt x="694" y="325"/>
                      <a:pt x="705" y="331"/>
                      <a:pt x="713" y="337"/>
                    </a:cubicBezTo>
                    <a:lnTo>
                      <a:pt x="713" y="119"/>
                    </a:lnTo>
                    <a:cubicBezTo>
                      <a:pt x="713" y="87"/>
                      <a:pt x="688" y="61"/>
                      <a:pt x="656" y="61"/>
                    </a:cubicBezTo>
                    <a:lnTo>
                      <a:pt x="545" y="61"/>
                    </a:lnTo>
                    <a:lnTo>
                      <a:pt x="442" y="61"/>
                    </a:lnTo>
                    <a:cubicBezTo>
                      <a:pt x="410" y="61"/>
                      <a:pt x="384" y="87"/>
                      <a:pt x="384" y="119"/>
                    </a:cubicBezTo>
                    <a:close/>
                    <a:moveTo>
                      <a:pt x="51" y="242"/>
                    </a:moveTo>
                    <a:lnTo>
                      <a:pt x="51" y="284"/>
                    </a:lnTo>
                    <a:lnTo>
                      <a:pt x="346" y="284"/>
                    </a:lnTo>
                    <a:lnTo>
                      <a:pt x="346" y="242"/>
                    </a:lnTo>
                    <a:lnTo>
                      <a:pt x="51" y="242"/>
                    </a:lnTo>
                    <a:close/>
                    <a:moveTo>
                      <a:pt x="753" y="414"/>
                    </a:moveTo>
                    <a:cubicBezTo>
                      <a:pt x="753" y="443"/>
                      <a:pt x="730" y="467"/>
                      <a:pt x="701" y="467"/>
                    </a:cubicBezTo>
                    <a:lnTo>
                      <a:pt x="53" y="467"/>
                    </a:lnTo>
                    <a:cubicBezTo>
                      <a:pt x="24" y="467"/>
                      <a:pt x="0" y="443"/>
                      <a:pt x="0" y="414"/>
                    </a:cubicBezTo>
                    <a:lnTo>
                      <a:pt x="0" y="53"/>
                    </a:lnTo>
                    <a:cubicBezTo>
                      <a:pt x="0" y="24"/>
                      <a:pt x="24" y="0"/>
                      <a:pt x="53" y="0"/>
                    </a:cubicBezTo>
                    <a:lnTo>
                      <a:pt x="701" y="0"/>
                    </a:lnTo>
                    <a:cubicBezTo>
                      <a:pt x="730" y="0"/>
                      <a:pt x="753" y="24"/>
                      <a:pt x="753" y="53"/>
                    </a:cubicBezTo>
                    <a:lnTo>
                      <a:pt x="753" y="4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Helvetica"/>
                </a:endParaRPr>
              </a:p>
            </p:txBody>
          </p:sp>
          <p:sp>
            <p:nvSpPr>
              <p:cNvPr id="12" name="Identification">
                <a:extLst>
                  <a:ext uri="{FF2B5EF4-FFF2-40B4-BE49-F238E27FC236}">
                    <a16:creationId xmlns:a16="http://schemas.microsoft.com/office/drawing/2014/main" id="{985152F4-D0AD-4849-84AF-E45ED4C87A0A}"/>
                  </a:ext>
                </a:extLst>
              </p:cNvPr>
              <p:cNvSpPr>
                <a:spLocks/>
              </p:cNvSpPr>
              <p:nvPr>
                <p:custDataLst>
                  <p:tags r:id="rId7"/>
                </p:custDataLst>
              </p:nvPr>
            </p:nvSpPr>
            <p:spPr bwMode="auto">
              <a:xfrm>
                <a:off x="271" y="247"/>
                <a:ext cx="1" cy="1"/>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Helvetica"/>
                </a:endParaRPr>
              </a:p>
            </p:txBody>
          </p:sp>
        </p:grpSp>
      </p:grpSp>
      <p:sp>
        <p:nvSpPr>
          <p:cNvPr id="2" name="Rectángulo 1"/>
          <p:cNvSpPr/>
          <p:nvPr/>
        </p:nvSpPr>
        <p:spPr>
          <a:xfrm>
            <a:off x="1322563" y="1444986"/>
            <a:ext cx="373050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複数部署にて</a:t>
            </a:r>
            <a:r>
              <a:rPr kumimoji="0" lang="es-E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RPA</a:t>
            </a:r>
            <a:r>
              <a:rPr kumimoji="0" lang="ja-JP" altLang="es-E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を活用した自動化</a:t>
            </a:r>
          </a:p>
        </p:txBody>
      </p:sp>
      <p:sp>
        <p:nvSpPr>
          <p:cNvPr id="13" name="Rectángulo 12"/>
          <p:cNvSpPr/>
          <p:nvPr/>
        </p:nvSpPr>
        <p:spPr>
          <a:xfrm>
            <a:off x="1391143" y="1804555"/>
            <a:ext cx="425070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cs typeface="Helvetica"/>
              </a:rPr>
              <a:t>月間</a:t>
            </a:r>
            <a:r>
              <a:rPr lang="es-ES" altLang="ja-JP" sz="1600" dirty="0">
                <a:solidFill>
                  <a:prstClr val="black"/>
                </a:solidFill>
                <a:latin typeface="ＭＳ Ｐゴシック" panose="020B0600070205080204" pitchFamily="50" charset="-128"/>
                <a:ea typeface="ＭＳ Ｐゴシック" panose="020B0600070205080204" pitchFamily="50" charset="-128"/>
                <a:cs typeface="Helvetica"/>
              </a:rPr>
              <a:t>1</a:t>
            </a:r>
            <a:r>
              <a:rPr kumimoji="0" lang="es-E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50,000</a:t>
            </a:r>
            <a:r>
              <a:rPr kumimoji="0" lang="ja-JP" altLang="es-E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件を超える</a:t>
            </a:r>
            <a:r>
              <a:rPr kumimoji="0" lang="es-E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RPA</a:t>
            </a:r>
            <a:r>
              <a:rPr kumimoji="0" lang="ja-JP" altLang="es-E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処理業務数</a:t>
            </a:r>
            <a:endParaRPr kumimoji="0" 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endParaRPr>
          </a:p>
        </p:txBody>
      </p:sp>
      <p:sp>
        <p:nvSpPr>
          <p:cNvPr id="14" name="Rectangle 111"/>
          <p:cNvSpPr/>
          <p:nvPr/>
        </p:nvSpPr>
        <p:spPr>
          <a:xfrm>
            <a:off x="677432" y="4800600"/>
            <a:ext cx="5239151" cy="165983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entury Gothic"/>
              <a:cs typeface="Helvetica"/>
            </a:endParaRPr>
          </a:p>
        </p:txBody>
      </p:sp>
      <p:grpSp>
        <p:nvGrpSpPr>
          <p:cNvPr id="27" name="Group 14">
            <a:extLst>
              <a:ext uri="{FF2B5EF4-FFF2-40B4-BE49-F238E27FC236}">
                <a16:creationId xmlns:a16="http://schemas.microsoft.com/office/drawing/2014/main" id="{1C37A94A-2FB5-48D0-A786-B43F2FD416E0}"/>
              </a:ext>
            </a:extLst>
          </p:cNvPr>
          <p:cNvGrpSpPr/>
          <p:nvPr/>
        </p:nvGrpSpPr>
        <p:grpSpPr>
          <a:xfrm>
            <a:off x="740449" y="4830362"/>
            <a:ext cx="552985" cy="552985"/>
            <a:chOff x="761861" y="3510594"/>
            <a:chExt cx="552985" cy="552985"/>
          </a:xfrm>
        </p:grpSpPr>
        <p:sp>
          <p:nvSpPr>
            <p:cNvPr id="2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2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32" name="Identification">
              <a:extLst>
                <a:ext uri="{FF2B5EF4-FFF2-40B4-BE49-F238E27FC236}">
                  <a16:creationId xmlns:a16="http://schemas.microsoft.com/office/drawing/2014/main" id="{985152F4-D0AD-4849-84AF-E45ED4C87A0A}"/>
                </a:ext>
              </a:extLst>
            </p:cNvPr>
            <p:cNvSpPr>
              <a:spLocks/>
            </p:cNvSpPr>
            <p:nvPr>
              <p:custDataLst>
                <p:tags r:id="rId4"/>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Helvetica"/>
              </a:endParaRPr>
            </a:p>
          </p:txBody>
        </p:sp>
      </p:grpSp>
      <p:grpSp>
        <p:nvGrpSpPr>
          <p:cNvPr id="38" name="Performance2" descr="{&quot;Key&quot;:&quot;POWER_USER_SHAPE_ICON&quot;,&quot;Value&quot;:&quot;POWER_USER_SHAPE_ICON_STYLE_1&quot;}">
            <a:extLst>
              <a:ext uri="{FF2B5EF4-FFF2-40B4-BE49-F238E27FC236}">
                <a16:creationId xmlns:a16="http://schemas.microsoft.com/office/drawing/2014/main" id="{CFE264C0-BB04-4740-BE6D-9253E9D43B05}"/>
              </a:ext>
            </a:extLst>
          </p:cNvPr>
          <p:cNvGrpSpPr>
            <a:grpSpLocks noChangeAspect="1"/>
          </p:cNvGrpSpPr>
          <p:nvPr/>
        </p:nvGrpSpPr>
        <p:grpSpPr>
          <a:xfrm>
            <a:off x="817650" y="4858379"/>
            <a:ext cx="366454" cy="467741"/>
            <a:chOff x="412750" y="4575176"/>
            <a:chExt cx="511175" cy="652463"/>
          </a:xfrm>
          <a:solidFill>
            <a:schemeClr val="bg1"/>
          </a:solidFill>
        </p:grpSpPr>
        <p:sp>
          <p:nvSpPr>
            <p:cNvPr id="39" name="Freeform 173">
              <a:extLst>
                <a:ext uri="{FF2B5EF4-FFF2-40B4-BE49-F238E27FC236}">
                  <a16:creationId xmlns:a16="http://schemas.microsoft.com/office/drawing/2014/main" id="{8A2181E1-CDD9-4F58-9BB4-DC1229B6D753}"/>
                </a:ext>
              </a:extLst>
            </p:cNvPr>
            <p:cNvSpPr>
              <a:spLocks noEditPoints="1"/>
            </p:cNvSpPr>
            <p:nvPr/>
          </p:nvSpPr>
          <p:spPr bwMode="auto">
            <a:xfrm>
              <a:off x="412750" y="4575176"/>
              <a:ext cx="511175" cy="652463"/>
            </a:xfrm>
            <a:custGeom>
              <a:avLst/>
              <a:gdLst>
                <a:gd name="T0" fmla="*/ 748 w 856"/>
                <a:gd name="T1" fmla="*/ 639 h 1091"/>
                <a:gd name="T2" fmla="*/ 319 w 856"/>
                <a:gd name="T3" fmla="*/ 1058 h 1091"/>
                <a:gd name="T4" fmla="*/ 266 w 856"/>
                <a:gd name="T5" fmla="*/ 833 h 1091"/>
                <a:gd name="T6" fmla="*/ 153 w 856"/>
                <a:gd name="T7" fmla="*/ 833 h 1091"/>
                <a:gd name="T8" fmla="*/ 115 w 856"/>
                <a:gd name="T9" fmla="*/ 724 h 1091"/>
                <a:gd name="T10" fmla="*/ 86 w 856"/>
                <a:gd name="T11" fmla="*/ 692 h 1091"/>
                <a:gd name="T12" fmla="*/ 86 w 856"/>
                <a:gd name="T13" fmla="*/ 688 h 1091"/>
                <a:gd name="T14" fmla="*/ 111 w 856"/>
                <a:gd name="T15" fmla="*/ 664 h 1091"/>
                <a:gd name="T16" fmla="*/ 86 w 856"/>
                <a:gd name="T17" fmla="*/ 641 h 1091"/>
                <a:gd name="T18" fmla="*/ 84 w 856"/>
                <a:gd name="T19" fmla="*/ 631 h 1091"/>
                <a:gd name="T20" fmla="*/ 100 w 856"/>
                <a:gd name="T21" fmla="*/ 585 h 1091"/>
                <a:gd name="T22" fmla="*/ 46 w 856"/>
                <a:gd name="T23" fmla="*/ 540 h 1091"/>
                <a:gd name="T24" fmla="*/ 39 w 856"/>
                <a:gd name="T25" fmla="*/ 512 h 1091"/>
                <a:gd name="T26" fmla="*/ 120 w 856"/>
                <a:gd name="T27" fmla="*/ 363 h 1091"/>
                <a:gd name="T28" fmla="*/ 417 w 856"/>
                <a:gd name="T29" fmla="*/ 60 h 1091"/>
                <a:gd name="T30" fmla="*/ 796 w 856"/>
                <a:gd name="T31" fmla="*/ 531 h 1091"/>
                <a:gd name="T32" fmla="*/ 413 w 856"/>
                <a:gd name="T33" fmla="*/ 27 h 1091"/>
                <a:gd name="T34" fmla="*/ 86 w 856"/>
                <a:gd name="T35" fmla="*/ 360 h 1091"/>
                <a:gd name="T36" fmla="*/ 11 w 856"/>
                <a:gd name="T37" fmla="*/ 493 h 1091"/>
                <a:gd name="T38" fmla="*/ 31 w 856"/>
                <a:gd name="T39" fmla="*/ 570 h 1091"/>
                <a:gd name="T40" fmla="*/ 67 w 856"/>
                <a:gd name="T41" fmla="*/ 592 h 1091"/>
                <a:gd name="T42" fmla="*/ 58 w 856"/>
                <a:gd name="T43" fmla="*/ 611 h 1091"/>
                <a:gd name="T44" fmla="*/ 62 w 856"/>
                <a:gd name="T45" fmla="*/ 665 h 1091"/>
                <a:gd name="T46" fmla="*/ 65 w 856"/>
                <a:gd name="T47" fmla="*/ 718 h 1091"/>
                <a:gd name="T48" fmla="*/ 80 w 856"/>
                <a:gd name="T49" fmla="*/ 764 h 1091"/>
                <a:gd name="T50" fmla="*/ 207 w 856"/>
                <a:gd name="T51" fmla="*/ 871 h 1091"/>
                <a:gd name="T52" fmla="*/ 299 w 856"/>
                <a:gd name="T53" fmla="*/ 890 h 1091"/>
                <a:gd name="T54" fmla="*/ 282 w 856"/>
                <a:gd name="T55" fmla="*/ 1084 h 1091"/>
                <a:gd name="T56" fmla="*/ 767 w 856"/>
                <a:gd name="T57" fmla="*/ 1091 h 1091"/>
                <a:gd name="T58" fmla="*/ 783 w 856"/>
                <a:gd name="T59" fmla="*/ 1070 h 1091"/>
                <a:gd name="T60" fmla="*/ 827 w 856"/>
                <a:gd name="T61" fmla="*/ 543 h 1091"/>
                <a:gd name="T62" fmla="*/ 839 w 856"/>
                <a:gd name="T63" fmla="*/ 328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6" h="1091">
                  <a:moveTo>
                    <a:pt x="796" y="531"/>
                  </a:moveTo>
                  <a:cubicBezTo>
                    <a:pt x="778" y="575"/>
                    <a:pt x="762" y="609"/>
                    <a:pt x="748" y="639"/>
                  </a:cubicBezTo>
                  <a:cubicBezTo>
                    <a:pt x="693" y="751"/>
                    <a:pt x="674" y="791"/>
                    <a:pt x="745" y="1058"/>
                  </a:cubicBezTo>
                  <a:lnTo>
                    <a:pt x="319" y="1058"/>
                  </a:lnTo>
                  <a:cubicBezTo>
                    <a:pt x="332" y="1019"/>
                    <a:pt x="352" y="937"/>
                    <a:pt x="330" y="878"/>
                  </a:cubicBezTo>
                  <a:cubicBezTo>
                    <a:pt x="320" y="852"/>
                    <a:pt x="295" y="834"/>
                    <a:pt x="266" y="833"/>
                  </a:cubicBezTo>
                  <a:cubicBezTo>
                    <a:pt x="244" y="832"/>
                    <a:pt x="222" y="834"/>
                    <a:pt x="200" y="839"/>
                  </a:cubicBezTo>
                  <a:cubicBezTo>
                    <a:pt x="184" y="842"/>
                    <a:pt x="168" y="840"/>
                    <a:pt x="153" y="833"/>
                  </a:cubicBezTo>
                  <a:cubicBezTo>
                    <a:pt x="128" y="820"/>
                    <a:pt x="112" y="794"/>
                    <a:pt x="113" y="766"/>
                  </a:cubicBezTo>
                  <a:lnTo>
                    <a:pt x="115" y="724"/>
                  </a:lnTo>
                  <a:cubicBezTo>
                    <a:pt x="115" y="719"/>
                    <a:pt x="113" y="714"/>
                    <a:pt x="109" y="711"/>
                  </a:cubicBezTo>
                  <a:lnTo>
                    <a:pt x="86" y="692"/>
                  </a:lnTo>
                  <a:cubicBezTo>
                    <a:pt x="85" y="692"/>
                    <a:pt x="85" y="691"/>
                    <a:pt x="85" y="690"/>
                  </a:cubicBezTo>
                  <a:cubicBezTo>
                    <a:pt x="85" y="689"/>
                    <a:pt x="86" y="688"/>
                    <a:pt x="86" y="688"/>
                  </a:cubicBezTo>
                  <a:lnTo>
                    <a:pt x="102" y="679"/>
                  </a:lnTo>
                  <a:cubicBezTo>
                    <a:pt x="107" y="676"/>
                    <a:pt x="111" y="670"/>
                    <a:pt x="111" y="664"/>
                  </a:cubicBezTo>
                  <a:cubicBezTo>
                    <a:pt x="111" y="658"/>
                    <a:pt x="107" y="653"/>
                    <a:pt x="102" y="650"/>
                  </a:cubicBezTo>
                  <a:lnTo>
                    <a:pt x="86" y="641"/>
                  </a:lnTo>
                  <a:cubicBezTo>
                    <a:pt x="84" y="639"/>
                    <a:pt x="83" y="637"/>
                    <a:pt x="83" y="636"/>
                  </a:cubicBezTo>
                  <a:cubicBezTo>
                    <a:pt x="82" y="635"/>
                    <a:pt x="82" y="633"/>
                    <a:pt x="84" y="631"/>
                  </a:cubicBezTo>
                  <a:lnTo>
                    <a:pt x="92" y="621"/>
                  </a:lnTo>
                  <a:cubicBezTo>
                    <a:pt x="100" y="610"/>
                    <a:pt x="103" y="597"/>
                    <a:pt x="100" y="585"/>
                  </a:cubicBezTo>
                  <a:cubicBezTo>
                    <a:pt x="97" y="572"/>
                    <a:pt x="89" y="561"/>
                    <a:pt x="77" y="555"/>
                  </a:cubicBezTo>
                  <a:lnTo>
                    <a:pt x="46" y="540"/>
                  </a:lnTo>
                  <a:cubicBezTo>
                    <a:pt x="41" y="537"/>
                    <a:pt x="38" y="533"/>
                    <a:pt x="36" y="528"/>
                  </a:cubicBezTo>
                  <a:cubicBezTo>
                    <a:pt x="35" y="522"/>
                    <a:pt x="36" y="517"/>
                    <a:pt x="39" y="512"/>
                  </a:cubicBezTo>
                  <a:lnTo>
                    <a:pt x="98" y="425"/>
                  </a:lnTo>
                  <a:cubicBezTo>
                    <a:pt x="110" y="407"/>
                    <a:pt x="118" y="385"/>
                    <a:pt x="120" y="363"/>
                  </a:cubicBezTo>
                  <a:cubicBezTo>
                    <a:pt x="121" y="342"/>
                    <a:pt x="123" y="323"/>
                    <a:pt x="129" y="306"/>
                  </a:cubicBezTo>
                  <a:cubicBezTo>
                    <a:pt x="174" y="174"/>
                    <a:pt x="287" y="78"/>
                    <a:pt x="417" y="60"/>
                  </a:cubicBezTo>
                  <a:cubicBezTo>
                    <a:pt x="609" y="35"/>
                    <a:pt x="768" y="184"/>
                    <a:pt x="806" y="336"/>
                  </a:cubicBezTo>
                  <a:cubicBezTo>
                    <a:pt x="822" y="397"/>
                    <a:pt x="818" y="465"/>
                    <a:pt x="796" y="531"/>
                  </a:cubicBezTo>
                  <a:close/>
                  <a:moveTo>
                    <a:pt x="839" y="328"/>
                  </a:moveTo>
                  <a:cubicBezTo>
                    <a:pt x="797" y="162"/>
                    <a:pt x="622" y="0"/>
                    <a:pt x="413" y="27"/>
                  </a:cubicBezTo>
                  <a:cubicBezTo>
                    <a:pt x="270" y="46"/>
                    <a:pt x="147" y="151"/>
                    <a:pt x="98" y="295"/>
                  </a:cubicBezTo>
                  <a:cubicBezTo>
                    <a:pt x="91" y="316"/>
                    <a:pt x="88" y="337"/>
                    <a:pt x="86" y="360"/>
                  </a:cubicBezTo>
                  <a:cubicBezTo>
                    <a:pt x="85" y="377"/>
                    <a:pt x="79" y="393"/>
                    <a:pt x="70" y="407"/>
                  </a:cubicBezTo>
                  <a:lnTo>
                    <a:pt x="11" y="493"/>
                  </a:lnTo>
                  <a:cubicBezTo>
                    <a:pt x="3" y="506"/>
                    <a:pt x="0" y="521"/>
                    <a:pt x="4" y="536"/>
                  </a:cubicBezTo>
                  <a:cubicBezTo>
                    <a:pt x="8" y="550"/>
                    <a:pt x="18" y="563"/>
                    <a:pt x="31" y="570"/>
                  </a:cubicBezTo>
                  <a:lnTo>
                    <a:pt x="62" y="585"/>
                  </a:lnTo>
                  <a:cubicBezTo>
                    <a:pt x="66" y="587"/>
                    <a:pt x="67" y="590"/>
                    <a:pt x="67" y="592"/>
                  </a:cubicBezTo>
                  <a:cubicBezTo>
                    <a:pt x="68" y="594"/>
                    <a:pt x="68" y="597"/>
                    <a:pt x="65" y="600"/>
                  </a:cubicBezTo>
                  <a:lnTo>
                    <a:pt x="58" y="611"/>
                  </a:lnTo>
                  <a:cubicBezTo>
                    <a:pt x="50" y="620"/>
                    <a:pt x="48" y="632"/>
                    <a:pt x="50" y="643"/>
                  </a:cubicBezTo>
                  <a:cubicBezTo>
                    <a:pt x="52" y="651"/>
                    <a:pt x="56" y="659"/>
                    <a:pt x="62" y="665"/>
                  </a:cubicBezTo>
                  <a:cubicBezTo>
                    <a:pt x="56" y="671"/>
                    <a:pt x="53" y="679"/>
                    <a:pt x="52" y="687"/>
                  </a:cubicBezTo>
                  <a:cubicBezTo>
                    <a:pt x="51" y="699"/>
                    <a:pt x="56" y="711"/>
                    <a:pt x="65" y="718"/>
                  </a:cubicBezTo>
                  <a:lnTo>
                    <a:pt x="81" y="731"/>
                  </a:lnTo>
                  <a:lnTo>
                    <a:pt x="80" y="764"/>
                  </a:lnTo>
                  <a:cubicBezTo>
                    <a:pt x="79" y="805"/>
                    <a:pt x="101" y="844"/>
                    <a:pt x="138" y="862"/>
                  </a:cubicBezTo>
                  <a:cubicBezTo>
                    <a:pt x="160" y="873"/>
                    <a:pt x="184" y="876"/>
                    <a:pt x="207" y="871"/>
                  </a:cubicBezTo>
                  <a:cubicBezTo>
                    <a:pt x="226" y="867"/>
                    <a:pt x="246" y="865"/>
                    <a:pt x="265" y="866"/>
                  </a:cubicBezTo>
                  <a:cubicBezTo>
                    <a:pt x="280" y="867"/>
                    <a:pt x="294" y="876"/>
                    <a:pt x="299" y="890"/>
                  </a:cubicBezTo>
                  <a:cubicBezTo>
                    <a:pt x="323" y="957"/>
                    <a:pt x="281" y="1067"/>
                    <a:pt x="280" y="1068"/>
                  </a:cubicBezTo>
                  <a:cubicBezTo>
                    <a:pt x="278" y="1073"/>
                    <a:pt x="279" y="1079"/>
                    <a:pt x="282" y="1084"/>
                  </a:cubicBezTo>
                  <a:cubicBezTo>
                    <a:pt x="285" y="1088"/>
                    <a:pt x="290" y="1091"/>
                    <a:pt x="296" y="1091"/>
                  </a:cubicBezTo>
                  <a:lnTo>
                    <a:pt x="767" y="1091"/>
                  </a:lnTo>
                  <a:cubicBezTo>
                    <a:pt x="772" y="1091"/>
                    <a:pt x="777" y="1089"/>
                    <a:pt x="780" y="1084"/>
                  </a:cubicBezTo>
                  <a:cubicBezTo>
                    <a:pt x="783" y="1080"/>
                    <a:pt x="784" y="1075"/>
                    <a:pt x="783" y="1070"/>
                  </a:cubicBezTo>
                  <a:cubicBezTo>
                    <a:pt x="709" y="796"/>
                    <a:pt x="725" y="763"/>
                    <a:pt x="778" y="653"/>
                  </a:cubicBezTo>
                  <a:cubicBezTo>
                    <a:pt x="792" y="623"/>
                    <a:pt x="809" y="589"/>
                    <a:pt x="827" y="543"/>
                  </a:cubicBezTo>
                  <a:cubicBezTo>
                    <a:pt x="827" y="542"/>
                    <a:pt x="827" y="542"/>
                    <a:pt x="827" y="542"/>
                  </a:cubicBezTo>
                  <a:cubicBezTo>
                    <a:pt x="852" y="469"/>
                    <a:pt x="856" y="396"/>
                    <a:pt x="839" y="32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sp>
          <p:nvSpPr>
            <p:cNvPr id="40" name="Freeform 174">
              <a:extLst>
                <a:ext uri="{FF2B5EF4-FFF2-40B4-BE49-F238E27FC236}">
                  <a16:creationId xmlns:a16="http://schemas.microsoft.com/office/drawing/2014/main" id="{54DFEEDB-9C31-43E3-BE20-90DFCFA91698}"/>
                </a:ext>
              </a:extLst>
            </p:cNvPr>
            <p:cNvSpPr>
              <a:spLocks noEditPoints="1"/>
            </p:cNvSpPr>
            <p:nvPr/>
          </p:nvSpPr>
          <p:spPr bwMode="auto">
            <a:xfrm>
              <a:off x="663575" y="4737101"/>
              <a:ext cx="174625" cy="123825"/>
            </a:xfrm>
            <a:custGeom>
              <a:avLst/>
              <a:gdLst>
                <a:gd name="T0" fmla="*/ 48 w 292"/>
                <a:gd name="T1" fmla="*/ 176 h 209"/>
                <a:gd name="T2" fmla="*/ 33 w 292"/>
                <a:gd name="T3" fmla="*/ 161 h 209"/>
                <a:gd name="T4" fmla="*/ 48 w 292"/>
                <a:gd name="T5" fmla="*/ 146 h 209"/>
                <a:gd name="T6" fmla="*/ 62 w 292"/>
                <a:gd name="T7" fmla="*/ 161 h 209"/>
                <a:gd name="T8" fmla="*/ 48 w 292"/>
                <a:gd name="T9" fmla="*/ 176 h 209"/>
                <a:gd name="T10" fmla="*/ 264 w 292"/>
                <a:gd name="T11" fmla="*/ 4 h 209"/>
                <a:gd name="T12" fmla="*/ 77 w 292"/>
                <a:gd name="T13" fmla="*/ 123 h 209"/>
                <a:gd name="T14" fmla="*/ 48 w 292"/>
                <a:gd name="T15" fmla="*/ 113 h 209"/>
                <a:gd name="T16" fmla="*/ 0 w 292"/>
                <a:gd name="T17" fmla="*/ 161 h 209"/>
                <a:gd name="T18" fmla="*/ 48 w 292"/>
                <a:gd name="T19" fmla="*/ 209 h 209"/>
                <a:gd name="T20" fmla="*/ 96 w 292"/>
                <a:gd name="T21" fmla="*/ 161 h 209"/>
                <a:gd name="T22" fmla="*/ 95 w 292"/>
                <a:gd name="T23" fmla="*/ 151 h 209"/>
                <a:gd name="T24" fmla="*/ 282 w 292"/>
                <a:gd name="T25" fmla="*/ 33 h 209"/>
                <a:gd name="T26" fmla="*/ 287 w 292"/>
                <a:gd name="T27" fmla="*/ 10 h 209"/>
                <a:gd name="T28" fmla="*/ 264 w 292"/>
                <a:gd name="T29"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209">
                  <a:moveTo>
                    <a:pt x="48" y="176"/>
                  </a:moveTo>
                  <a:cubicBezTo>
                    <a:pt x="40" y="176"/>
                    <a:pt x="33" y="169"/>
                    <a:pt x="33" y="161"/>
                  </a:cubicBezTo>
                  <a:cubicBezTo>
                    <a:pt x="33" y="153"/>
                    <a:pt x="40" y="146"/>
                    <a:pt x="48" y="146"/>
                  </a:cubicBezTo>
                  <a:cubicBezTo>
                    <a:pt x="56" y="146"/>
                    <a:pt x="62" y="153"/>
                    <a:pt x="62" y="161"/>
                  </a:cubicBezTo>
                  <a:cubicBezTo>
                    <a:pt x="62" y="169"/>
                    <a:pt x="56" y="176"/>
                    <a:pt x="48" y="176"/>
                  </a:cubicBezTo>
                  <a:close/>
                  <a:moveTo>
                    <a:pt x="264" y="4"/>
                  </a:moveTo>
                  <a:lnTo>
                    <a:pt x="77" y="123"/>
                  </a:lnTo>
                  <a:cubicBezTo>
                    <a:pt x="69" y="117"/>
                    <a:pt x="59" y="113"/>
                    <a:pt x="48" y="113"/>
                  </a:cubicBezTo>
                  <a:cubicBezTo>
                    <a:pt x="21" y="113"/>
                    <a:pt x="0" y="135"/>
                    <a:pt x="0" y="161"/>
                  </a:cubicBezTo>
                  <a:cubicBezTo>
                    <a:pt x="0" y="188"/>
                    <a:pt x="21" y="209"/>
                    <a:pt x="48" y="209"/>
                  </a:cubicBezTo>
                  <a:cubicBezTo>
                    <a:pt x="74" y="209"/>
                    <a:pt x="96" y="188"/>
                    <a:pt x="96" y="161"/>
                  </a:cubicBezTo>
                  <a:cubicBezTo>
                    <a:pt x="96" y="158"/>
                    <a:pt x="95" y="154"/>
                    <a:pt x="95" y="151"/>
                  </a:cubicBezTo>
                  <a:lnTo>
                    <a:pt x="282" y="33"/>
                  </a:lnTo>
                  <a:cubicBezTo>
                    <a:pt x="290" y="28"/>
                    <a:pt x="292" y="17"/>
                    <a:pt x="287" y="10"/>
                  </a:cubicBezTo>
                  <a:cubicBezTo>
                    <a:pt x="282" y="2"/>
                    <a:pt x="272" y="0"/>
                    <a:pt x="264" y="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sp>
          <p:nvSpPr>
            <p:cNvPr id="41" name="Freeform 175">
              <a:extLst>
                <a:ext uri="{FF2B5EF4-FFF2-40B4-BE49-F238E27FC236}">
                  <a16:creationId xmlns:a16="http://schemas.microsoft.com/office/drawing/2014/main" id="{A9B205E1-813A-4DCC-86F4-BA223D4B445B}"/>
                </a:ext>
              </a:extLst>
            </p:cNvPr>
            <p:cNvSpPr>
              <a:spLocks/>
            </p:cNvSpPr>
            <p:nvPr/>
          </p:nvSpPr>
          <p:spPr bwMode="auto">
            <a:xfrm>
              <a:off x="523875" y="4664076"/>
              <a:ext cx="292100" cy="179388"/>
            </a:xfrm>
            <a:custGeom>
              <a:avLst/>
              <a:gdLst>
                <a:gd name="T0" fmla="*/ 460 w 491"/>
                <a:gd name="T1" fmla="*/ 106 h 300"/>
                <a:gd name="T2" fmla="*/ 484 w 491"/>
                <a:gd name="T3" fmla="*/ 106 h 300"/>
                <a:gd name="T4" fmla="*/ 484 w 491"/>
                <a:gd name="T5" fmla="*/ 83 h 300"/>
                <a:gd name="T6" fmla="*/ 284 w 491"/>
                <a:gd name="T7" fmla="*/ 0 h 300"/>
                <a:gd name="T8" fmla="*/ 0 w 491"/>
                <a:gd name="T9" fmla="*/ 283 h 300"/>
                <a:gd name="T10" fmla="*/ 17 w 491"/>
                <a:gd name="T11" fmla="*/ 300 h 300"/>
                <a:gd name="T12" fmla="*/ 34 w 491"/>
                <a:gd name="T13" fmla="*/ 283 h 300"/>
                <a:gd name="T14" fmla="*/ 284 w 491"/>
                <a:gd name="T15" fmla="*/ 33 h 300"/>
                <a:gd name="T16" fmla="*/ 460 w 491"/>
                <a:gd name="T17" fmla="*/ 1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300">
                  <a:moveTo>
                    <a:pt x="460" y="106"/>
                  </a:moveTo>
                  <a:cubicBezTo>
                    <a:pt x="467" y="113"/>
                    <a:pt x="478" y="113"/>
                    <a:pt x="484" y="106"/>
                  </a:cubicBezTo>
                  <a:cubicBezTo>
                    <a:pt x="491" y="100"/>
                    <a:pt x="491" y="89"/>
                    <a:pt x="484" y="83"/>
                  </a:cubicBezTo>
                  <a:cubicBezTo>
                    <a:pt x="431" y="29"/>
                    <a:pt x="359" y="0"/>
                    <a:pt x="284" y="0"/>
                  </a:cubicBezTo>
                  <a:cubicBezTo>
                    <a:pt x="127" y="0"/>
                    <a:pt x="0" y="127"/>
                    <a:pt x="0" y="283"/>
                  </a:cubicBezTo>
                  <a:cubicBezTo>
                    <a:pt x="0" y="292"/>
                    <a:pt x="8" y="300"/>
                    <a:pt x="17" y="300"/>
                  </a:cubicBezTo>
                  <a:cubicBezTo>
                    <a:pt x="26" y="300"/>
                    <a:pt x="34" y="292"/>
                    <a:pt x="34" y="283"/>
                  </a:cubicBezTo>
                  <a:cubicBezTo>
                    <a:pt x="34" y="145"/>
                    <a:pt x="146" y="33"/>
                    <a:pt x="284" y="33"/>
                  </a:cubicBezTo>
                  <a:cubicBezTo>
                    <a:pt x="351" y="33"/>
                    <a:pt x="413" y="59"/>
                    <a:pt x="460" y="10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grpSp>
      <p:sp>
        <p:nvSpPr>
          <p:cNvPr id="51" name="Rectangle 111"/>
          <p:cNvSpPr/>
          <p:nvPr/>
        </p:nvSpPr>
        <p:spPr>
          <a:xfrm>
            <a:off x="677432" y="2600866"/>
            <a:ext cx="5239952" cy="213553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800" b="0" i="0" u="none" strike="noStrike" kern="1200" cap="none" spc="0" normalizeH="0" baseline="0" noProof="0" dirty="0">
              <a:ln>
                <a:noFill/>
              </a:ln>
              <a:solidFill>
                <a:srgbClr val="DDDDDD">
                  <a:lumMod val="10000"/>
                </a:srgbClr>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800" b="0" i="0" u="none" strike="noStrike" kern="1200" cap="none" spc="0" normalizeH="0" baseline="0" noProof="0" dirty="0">
              <a:ln>
                <a:noFill/>
              </a:ln>
              <a:solidFill>
                <a:srgbClr val="DDDDDD">
                  <a:lumMod val="10000"/>
                </a:srgbClr>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600" b="0" i="0" u="none" strike="noStrike" kern="1200" cap="none" spc="0" normalizeH="0" baseline="0" noProof="0" dirty="0">
                <a:ln>
                  <a:noFill/>
                </a:ln>
                <a:solidFill>
                  <a:srgbClr val="DDDDDD">
                    <a:lumMod val="10000"/>
                  </a:srgbClr>
                </a:solidFill>
                <a:effectLst/>
                <a:uLnTx/>
                <a:uFillTx/>
                <a:latin typeface="Century Gothic"/>
                <a:cs typeface="Helvetica"/>
              </a:rPr>
              <a:t>　　　部署横断（物流、調達、人事等）で</a:t>
            </a:r>
            <a:endParaRPr kumimoji="0" lang="es-ES" altLang="ja-JP" sz="1600" b="0" i="0" u="none" strike="noStrike" kern="1200" cap="none" spc="0" normalizeH="0" baseline="0" noProof="0" dirty="0">
              <a:ln>
                <a:noFill/>
              </a:ln>
              <a:solidFill>
                <a:srgbClr val="DDDDDD">
                  <a:lumMod val="10000"/>
                </a:srgbClr>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s-ES" sz="1600" dirty="0">
                <a:solidFill>
                  <a:srgbClr val="DDDDDD">
                    <a:lumMod val="10000"/>
                  </a:srgbClr>
                </a:solidFill>
                <a:latin typeface="Century Gothic"/>
                <a:cs typeface="Helvetica"/>
              </a:rPr>
              <a:t>　　　</a:t>
            </a:r>
            <a:r>
              <a:rPr kumimoji="0" lang="es-ES" altLang="ja-JP" sz="1600" b="0" i="0" u="none" strike="noStrike" kern="1200" cap="none" spc="0" normalizeH="0" baseline="0" noProof="0" dirty="0">
                <a:ln>
                  <a:noFill/>
                </a:ln>
                <a:solidFill>
                  <a:srgbClr val="DDDDDD">
                    <a:lumMod val="10000"/>
                  </a:srgbClr>
                </a:solidFill>
                <a:effectLst/>
                <a:uLnTx/>
                <a:uFillTx/>
                <a:latin typeface="Century Gothic"/>
                <a:cs typeface="Helvetica"/>
              </a:rPr>
              <a:t>RPA</a:t>
            </a:r>
            <a:r>
              <a:rPr kumimoji="0" lang="ja-JP" altLang="es-ES" sz="1600" b="0" i="0" u="none" strike="noStrike" kern="1200" cap="none" spc="0" normalizeH="0" baseline="0" noProof="0" dirty="0">
                <a:ln>
                  <a:noFill/>
                </a:ln>
                <a:solidFill>
                  <a:srgbClr val="DDDDDD">
                    <a:lumMod val="10000"/>
                  </a:srgbClr>
                </a:solidFill>
                <a:effectLst/>
                <a:uLnTx/>
                <a:uFillTx/>
                <a:latin typeface="Century Gothic"/>
                <a:cs typeface="Helvetica"/>
              </a:rPr>
              <a:t>を取り入れることで、</a:t>
            </a:r>
            <a:endParaRPr kumimoji="0" lang="es-ES" altLang="ja-JP" sz="1600" b="0" i="0" u="none" strike="noStrike" kern="1200" cap="none" spc="0" normalizeH="0" baseline="0" noProof="0" dirty="0">
              <a:ln>
                <a:noFill/>
              </a:ln>
              <a:solidFill>
                <a:srgbClr val="DDDDDD">
                  <a:lumMod val="10000"/>
                </a:srgbClr>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s-ES" sz="1600" dirty="0">
                <a:solidFill>
                  <a:srgbClr val="DDDDDD">
                    <a:lumMod val="10000"/>
                  </a:srgbClr>
                </a:solidFill>
                <a:latin typeface="Century Gothic"/>
                <a:cs typeface="Helvetica"/>
              </a:rPr>
              <a:t>　　　社内での業務効率化風土を向上</a:t>
            </a:r>
            <a:endParaRPr lang="es-ES" altLang="ja-JP" sz="1600" dirty="0">
              <a:solidFill>
                <a:srgbClr val="DDDDDD">
                  <a:lumMod val="10000"/>
                </a:srgbClr>
              </a:solidFill>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altLang="ja-JP" sz="1600" b="0" i="0" u="none" strike="noStrike" kern="1200" cap="none" spc="0" normalizeH="0" baseline="0" noProof="0" dirty="0">
              <a:ln>
                <a:noFill/>
              </a:ln>
              <a:solidFill>
                <a:srgbClr val="DDDDDD">
                  <a:lumMod val="10000"/>
                </a:srgbClr>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s-ES" sz="1600" dirty="0">
                <a:solidFill>
                  <a:srgbClr val="DDDDDD">
                    <a:lumMod val="10000"/>
                  </a:srgbClr>
                </a:solidFill>
                <a:latin typeface="Century Gothic"/>
                <a:cs typeface="Helvetica"/>
              </a:rPr>
              <a:t>　　　</a:t>
            </a:r>
            <a:r>
              <a:rPr lang="es-ES" altLang="ja-JP" sz="1600" dirty="0">
                <a:solidFill>
                  <a:srgbClr val="DDDDDD">
                    <a:lumMod val="10000"/>
                  </a:srgbClr>
                </a:solidFill>
                <a:latin typeface="Century Gothic"/>
                <a:cs typeface="Helvetica"/>
              </a:rPr>
              <a:t>8</a:t>
            </a:r>
            <a:r>
              <a:rPr lang="ja-JP" altLang="es-ES" sz="1600" dirty="0">
                <a:solidFill>
                  <a:srgbClr val="DDDDDD">
                    <a:lumMod val="10000"/>
                  </a:srgbClr>
                </a:solidFill>
                <a:latin typeface="Century Gothic"/>
                <a:cs typeface="Helvetica"/>
              </a:rPr>
              <a:t>ヶ月以内での投資回収の期間を想定</a:t>
            </a:r>
            <a:endParaRPr lang="es-ES" altLang="ja-JP" sz="1600" dirty="0">
              <a:solidFill>
                <a:srgbClr val="DDDDDD">
                  <a:lumMod val="10000"/>
                </a:srgbClr>
              </a:solidFill>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600" b="0" i="0" u="none" strike="noStrike" kern="1200" cap="none" spc="0" normalizeH="0" baseline="0" noProof="0" dirty="0">
                <a:ln>
                  <a:noFill/>
                </a:ln>
                <a:solidFill>
                  <a:srgbClr val="DDDDDD">
                    <a:lumMod val="10000"/>
                  </a:srgbClr>
                </a:solidFill>
                <a:effectLst/>
                <a:uLnTx/>
                <a:uFillTx/>
                <a:latin typeface="Century Gothic"/>
                <a:cs typeface="Helvetica"/>
              </a:rPr>
              <a:t>　　</a:t>
            </a:r>
            <a:endParaRPr kumimoji="0" lang="es-ES" altLang="ja-JP" sz="1600" b="0" i="0" u="none" strike="noStrike" kern="1200" cap="none" spc="0" normalizeH="0" baseline="0" noProof="0" dirty="0">
              <a:ln>
                <a:noFill/>
              </a:ln>
              <a:solidFill>
                <a:srgbClr val="DDDDDD">
                  <a:lumMod val="10000"/>
                </a:srgbClr>
              </a:solidFill>
              <a:effectLst/>
              <a:uLnTx/>
              <a:uFillTx/>
              <a:latin typeface="Century Gothic"/>
              <a:cs typeface="Helvetica"/>
            </a:endParaRPr>
          </a:p>
        </p:txBody>
      </p:sp>
      <p:grpSp>
        <p:nvGrpSpPr>
          <p:cNvPr id="52" name="Group 14">
            <a:extLst>
              <a:ext uri="{FF2B5EF4-FFF2-40B4-BE49-F238E27FC236}">
                <a16:creationId xmlns:a16="http://schemas.microsoft.com/office/drawing/2014/main" id="{1C37A94A-2FB5-48D0-A786-B43F2FD416E0}"/>
              </a:ext>
            </a:extLst>
          </p:cNvPr>
          <p:cNvGrpSpPr/>
          <p:nvPr/>
        </p:nvGrpSpPr>
        <p:grpSpPr>
          <a:xfrm>
            <a:off x="740449" y="2636532"/>
            <a:ext cx="552985" cy="552985"/>
            <a:chOff x="761861" y="3510594"/>
            <a:chExt cx="552985" cy="552985"/>
          </a:xfrm>
        </p:grpSpPr>
        <p:sp>
          <p:nvSpPr>
            <p:cNvPr id="53"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54"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55" name="Identification">
              <a:extLst>
                <a:ext uri="{FF2B5EF4-FFF2-40B4-BE49-F238E27FC236}">
                  <a16:creationId xmlns:a16="http://schemas.microsoft.com/office/drawing/2014/main" id="{985152F4-D0AD-4849-84AF-E45ED4C87A0A}"/>
                </a:ext>
              </a:extLst>
            </p:cNvPr>
            <p:cNvSpPr>
              <a:spLocks/>
            </p:cNvSpPr>
            <p:nvPr>
              <p:custDataLst>
                <p:tags r:id="rId3"/>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Helvetica"/>
              </a:endParaRPr>
            </a:p>
          </p:txBody>
        </p:sp>
      </p:grpSp>
      <p:grpSp>
        <p:nvGrpSpPr>
          <p:cNvPr id="42" name="Climbing2" descr="{&quot;Key&quot;:&quot;POWER_USER_SHAPE_ICON&quot;,&quot;Value&quot;:&quot;POWER_USER_SHAPE_ICON_STYLE_1&quot;}">
            <a:extLst>
              <a:ext uri="{FF2B5EF4-FFF2-40B4-BE49-F238E27FC236}">
                <a16:creationId xmlns:a16="http://schemas.microsoft.com/office/drawing/2014/main" id="{228A1D72-A9A9-445D-B6CC-F6B0A41A709F}"/>
              </a:ext>
            </a:extLst>
          </p:cNvPr>
          <p:cNvGrpSpPr>
            <a:grpSpLocks noChangeAspect="1"/>
          </p:cNvGrpSpPr>
          <p:nvPr>
            <p:custDataLst>
              <p:tags r:id="rId1"/>
            </p:custDataLst>
          </p:nvPr>
        </p:nvGrpSpPr>
        <p:grpSpPr>
          <a:xfrm>
            <a:off x="821175" y="2659456"/>
            <a:ext cx="409810" cy="504650"/>
            <a:chOff x="5856288" y="-142875"/>
            <a:chExt cx="1303337" cy="1604963"/>
          </a:xfrm>
          <a:noFill/>
        </p:grpSpPr>
        <p:sp>
          <p:nvSpPr>
            <p:cNvPr id="43" name="Freeform 342">
              <a:extLst>
                <a:ext uri="{FF2B5EF4-FFF2-40B4-BE49-F238E27FC236}">
                  <a16:creationId xmlns:a16="http://schemas.microsoft.com/office/drawing/2014/main" id="{215C6E88-CEB4-49D9-85FF-04FCE3F2A456}"/>
                </a:ext>
              </a:extLst>
            </p:cNvPr>
            <p:cNvSpPr>
              <a:spLocks/>
            </p:cNvSpPr>
            <p:nvPr/>
          </p:nvSpPr>
          <p:spPr bwMode="auto">
            <a:xfrm>
              <a:off x="6743700" y="550863"/>
              <a:ext cx="415925" cy="331788"/>
            </a:xfrm>
            <a:custGeom>
              <a:avLst/>
              <a:gdLst>
                <a:gd name="T0" fmla="*/ 89 w 547"/>
                <a:gd name="T1" fmla="*/ 401 h 435"/>
                <a:gd name="T2" fmla="*/ 0 w 547"/>
                <a:gd name="T3" fmla="*/ 230 h 435"/>
                <a:gd name="T4" fmla="*/ 224 w 547"/>
                <a:gd name="T5" fmla="*/ 251 h 435"/>
                <a:gd name="T6" fmla="*/ 333 w 547"/>
                <a:gd name="T7" fmla="*/ 195 h 435"/>
                <a:gd name="T8" fmla="*/ 446 w 547"/>
                <a:gd name="T9" fmla="*/ 0 h 435"/>
                <a:gd name="T10" fmla="*/ 534 w 547"/>
                <a:gd name="T11" fmla="*/ 170 h 435"/>
                <a:gd name="T12" fmla="*/ 513 w 547"/>
                <a:gd name="T13" fmla="*/ 238 h 435"/>
                <a:gd name="T14" fmla="*/ 156 w 547"/>
                <a:gd name="T15" fmla="*/ 422 h 435"/>
                <a:gd name="T16" fmla="*/ 89 w 547"/>
                <a:gd name="T17" fmla="*/ 4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435">
                  <a:moveTo>
                    <a:pt x="89" y="401"/>
                  </a:moveTo>
                  <a:cubicBezTo>
                    <a:pt x="67" y="358"/>
                    <a:pt x="33" y="294"/>
                    <a:pt x="0" y="230"/>
                  </a:cubicBezTo>
                  <a:cubicBezTo>
                    <a:pt x="86" y="238"/>
                    <a:pt x="165" y="246"/>
                    <a:pt x="224" y="251"/>
                  </a:cubicBezTo>
                  <a:cubicBezTo>
                    <a:pt x="264" y="255"/>
                    <a:pt x="313" y="229"/>
                    <a:pt x="333" y="195"/>
                  </a:cubicBezTo>
                  <a:cubicBezTo>
                    <a:pt x="363" y="143"/>
                    <a:pt x="403" y="74"/>
                    <a:pt x="446" y="0"/>
                  </a:cubicBezTo>
                  <a:cubicBezTo>
                    <a:pt x="479" y="64"/>
                    <a:pt x="512" y="128"/>
                    <a:pt x="534" y="170"/>
                  </a:cubicBezTo>
                  <a:cubicBezTo>
                    <a:pt x="547" y="195"/>
                    <a:pt x="537" y="225"/>
                    <a:pt x="513" y="238"/>
                  </a:cubicBezTo>
                  <a:cubicBezTo>
                    <a:pt x="430" y="280"/>
                    <a:pt x="239" y="379"/>
                    <a:pt x="156" y="422"/>
                  </a:cubicBezTo>
                  <a:cubicBezTo>
                    <a:pt x="131" y="435"/>
                    <a:pt x="101" y="425"/>
                    <a:pt x="89" y="401"/>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sp>
          <p:nvSpPr>
            <p:cNvPr id="44" name="Freeform 343">
              <a:extLst>
                <a:ext uri="{FF2B5EF4-FFF2-40B4-BE49-F238E27FC236}">
                  <a16:creationId xmlns:a16="http://schemas.microsoft.com/office/drawing/2014/main" id="{F70D456F-3EE2-48DD-A0BE-79A5782B576D}"/>
                </a:ext>
              </a:extLst>
            </p:cNvPr>
            <p:cNvSpPr>
              <a:spLocks noEditPoints="1"/>
            </p:cNvSpPr>
            <p:nvPr/>
          </p:nvSpPr>
          <p:spPr bwMode="auto">
            <a:xfrm>
              <a:off x="6702425" y="471488"/>
              <a:ext cx="374650" cy="249238"/>
            </a:xfrm>
            <a:custGeom>
              <a:avLst/>
              <a:gdLst>
                <a:gd name="T0" fmla="*/ 163 w 491"/>
                <a:gd name="T1" fmla="*/ 142 h 327"/>
                <a:gd name="T2" fmla="*/ 204 w 491"/>
                <a:gd name="T3" fmla="*/ 79 h 327"/>
                <a:gd name="T4" fmla="*/ 280 w 491"/>
                <a:gd name="T5" fmla="*/ 82 h 327"/>
                <a:gd name="T6" fmla="*/ 163 w 491"/>
                <a:gd name="T7" fmla="*/ 142 h 327"/>
                <a:gd name="T8" fmla="*/ 12 w 491"/>
                <a:gd name="T9" fmla="*/ 278 h 327"/>
                <a:gd name="T10" fmla="*/ 25 w 491"/>
                <a:gd name="T11" fmla="*/ 303 h 327"/>
                <a:gd name="T12" fmla="*/ 271 w 491"/>
                <a:gd name="T13" fmla="*/ 326 h 327"/>
                <a:gd name="T14" fmla="*/ 325 w 491"/>
                <a:gd name="T15" fmla="*/ 314 h 327"/>
                <a:gd name="T16" fmla="*/ 367 w 491"/>
                <a:gd name="T17" fmla="*/ 276 h 327"/>
                <a:gd name="T18" fmla="*/ 491 w 491"/>
                <a:gd name="T19" fmla="*/ 62 h 327"/>
                <a:gd name="T20" fmla="*/ 478 w 491"/>
                <a:gd name="T21" fmla="*/ 37 h 327"/>
                <a:gd name="T22" fmla="*/ 409 w 491"/>
                <a:gd name="T23" fmla="*/ 15 h 327"/>
                <a:gd name="T24" fmla="*/ 323 w 491"/>
                <a:gd name="T25" fmla="*/ 59 h 327"/>
                <a:gd name="T26" fmla="*/ 308 w 491"/>
                <a:gd name="T27" fmla="*/ 53 h 327"/>
                <a:gd name="T28" fmla="*/ 186 w 491"/>
                <a:gd name="T29" fmla="*/ 43 h 327"/>
                <a:gd name="T30" fmla="*/ 123 w 491"/>
                <a:gd name="T31" fmla="*/ 148 h 327"/>
                <a:gd name="T32" fmla="*/ 119 w 491"/>
                <a:gd name="T33" fmla="*/ 165 h 327"/>
                <a:gd name="T34" fmla="*/ 33 w 491"/>
                <a:gd name="T35" fmla="*/ 209 h 327"/>
                <a:gd name="T36" fmla="*/ 12 w 491"/>
                <a:gd name="T37" fmla="*/ 27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327">
                  <a:moveTo>
                    <a:pt x="163" y="142"/>
                  </a:moveTo>
                  <a:cubicBezTo>
                    <a:pt x="164" y="120"/>
                    <a:pt x="169" y="97"/>
                    <a:pt x="204" y="79"/>
                  </a:cubicBezTo>
                  <a:cubicBezTo>
                    <a:pt x="240" y="60"/>
                    <a:pt x="261" y="70"/>
                    <a:pt x="280" y="82"/>
                  </a:cubicBezTo>
                  <a:cubicBezTo>
                    <a:pt x="242" y="101"/>
                    <a:pt x="201" y="122"/>
                    <a:pt x="163" y="142"/>
                  </a:cubicBezTo>
                  <a:close/>
                  <a:moveTo>
                    <a:pt x="12" y="278"/>
                  </a:moveTo>
                  <a:cubicBezTo>
                    <a:pt x="17" y="288"/>
                    <a:pt x="25" y="303"/>
                    <a:pt x="25" y="303"/>
                  </a:cubicBezTo>
                  <a:lnTo>
                    <a:pt x="271" y="326"/>
                  </a:lnTo>
                  <a:cubicBezTo>
                    <a:pt x="288" y="327"/>
                    <a:pt x="307" y="323"/>
                    <a:pt x="325" y="314"/>
                  </a:cubicBezTo>
                  <a:cubicBezTo>
                    <a:pt x="343" y="304"/>
                    <a:pt x="359" y="291"/>
                    <a:pt x="367" y="276"/>
                  </a:cubicBezTo>
                  <a:lnTo>
                    <a:pt x="491" y="62"/>
                  </a:lnTo>
                  <a:cubicBezTo>
                    <a:pt x="491" y="62"/>
                    <a:pt x="483" y="47"/>
                    <a:pt x="478" y="37"/>
                  </a:cubicBezTo>
                  <a:cubicBezTo>
                    <a:pt x="466" y="15"/>
                    <a:pt x="438" y="0"/>
                    <a:pt x="409" y="15"/>
                  </a:cubicBezTo>
                  <a:cubicBezTo>
                    <a:pt x="397" y="21"/>
                    <a:pt x="354" y="43"/>
                    <a:pt x="323" y="59"/>
                  </a:cubicBezTo>
                  <a:cubicBezTo>
                    <a:pt x="319" y="61"/>
                    <a:pt x="312" y="55"/>
                    <a:pt x="308" y="53"/>
                  </a:cubicBezTo>
                  <a:cubicBezTo>
                    <a:pt x="286" y="38"/>
                    <a:pt x="246" y="12"/>
                    <a:pt x="186" y="43"/>
                  </a:cubicBezTo>
                  <a:cubicBezTo>
                    <a:pt x="125" y="75"/>
                    <a:pt x="124" y="123"/>
                    <a:pt x="123" y="148"/>
                  </a:cubicBezTo>
                  <a:cubicBezTo>
                    <a:pt x="122" y="153"/>
                    <a:pt x="123" y="163"/>
                    <a:pt x="119" y="165"/>
                  </a:cubicBezTo>
                  <a:cubicBezTo>
                    <a:pt x="81" y="184"/>
                    <a:pt x="45" y="203"/>
                    <a:pt x="33" y="209"/>
                  </a:cubicBezTo>
                  <a:cubicBezTo>
                    <a:pt x="5" y="224"/>
                    <a:pt x="0" y="256"/>
                    <a:pt x="12" y="278"/>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sp>
          <p:nvSpPr>
            <p:cNvPr id="45" name="Freeform 344">
              <a:extLst>
                <a:ext uri="{FF2B5EF4-FFF2-40B4-BE49-F238E27FC236}">
                  <a16:creationId xmlns:a16="http://schemas.microsoft.com/office/drawing/2014/main" id="{AB850D52-7610-4541-8690-94ED94618155}"/>
                </a:ext>
              </a:extLst>
            </p:cNvPr>
            <p:cNvSpPr>
              <a:spLocks noEditPoints="1"/>
            </p:cNvSpPr>
            <p:nvPr/>
          </p:nvSpPr>
          <p:spPr bwMode="auto">
            <a:xfrm>
              <a:off x="6015038" y="138113"/>
              <a:ext cx="846138" cy="1042988"/>
            </a:xfrm>
            <a:custGeom>
              <a:avLst/>
              <a:gdLst>
                <a:gd name="T0" fmla="*/ 491 w 1111"/>
                <a:gd name="T1" fmla="*/ 131 h 1370"/>
                <a:gd name="T2" fmla="*/ 504 w 1111"/>
                <a:gd name="T3" fmla="*/ 92 h 1370"/>
                <a:gd name="T4" fmla="*/ 525 w 1111"/>
                <a:gd name="T5" fmla="*/ 80 h 1370"/>
                <a:gd name="T6" fmla="*/ 550 w 1111"/>
                <a:gd name="T7" fmla="*/ 83 h 1370"/>
                <a:gd name="T8" fmla="*/ 577 w 1111"/>
                <a:gd name="T9" fmla="*/ 113 h 1370"/>
                <a:gd name="T10" fmla="*/ 576 w 1111"/>
                <a:gd name="T11" fmla="*/ 140 h 1370"/>
                <a:gd name="T12" fmla="*/ 565 w 1111"/>
                <a:gd name="T13" fmla="*/ 182 h 1370"/>
                <a:gd name="T14" fmla="*/ 673 w 1111"/>
                <a:gd name="T15" fmla="*/ 415 h 1370"/>
                <a:gd name="T16" fmla="*/ 617 w 1111"/>
                <a:gd name="T17" fmla="*/ 515 h 1370"/>
                <a:gd name="T18" fmla="*/ 525 w 1111"/>
                <a:gd name="T19" fmla="*/ 446 h 1370"/>
                <a:gd name="T20" fmla="*/ 531 w 1111"/>
                <a:gd name="T21" fmla="*/ 190 h 1370"/>
                <a:gd name="T22" fmla="*/ 503 w 1111"/>
                <a:gd name="T23" fmla="*/ 155 h 1370"/>
                <a:gd name="T24" fmla="*/ 491 w 1111"/>
                <a:gd name="T25" fmla="*/ 131 h 1370"/>
                <a:gd name="T26" fmla="*/ 374 w 1111"/>
                <a:gd name="T27" fmla="*/ 302 h 1370"/>
                <a:gd name="T28" fmla="*/ 442 w 1111"/>
                <a:gd name="T29" fmla="*/ 621 h 1370"/>
                <a:gd name="T30" fmla="*/ 303 w 1111"/>
                <a:gd name="T31" fmla="*/ 656 h 1370"/>
                <a:gd name="T32" fmla="*/ 266 w 1111"/>
                <a:gd name="T33" fmla="*/ 764 h 1370"/>
                <a:gd name="T34" fmla="*/ 357 w 1111"/>
                <a:gd name="T35" fmla="*/ 1000 h 1370"/>
                <a:gd name="T36" fmla="*/ 305 w 1111"/>
                <a:gd name="T37" fmla="*/ 1023 h 1370"/>
                <a:gd name="T38" fmla="*/ 315 w 1111"/>
                <a:gd name="T39" fmla="*/ 1080 h 1370"/>
                <a:gd name="T40" fmla="*/ 458 w 1111"/>
                <a:gd name="T41" fmla="*/ 1080 h 1370"/>
                <a:gd name="T42" fmla="*/ 495 w 1111"/>
                <a:gd name="T43" fmla="*/ 1020 h 1370"/>
                <a:gd name="T44" fmla="*/ 442 w 1111"/>
                <a:gd name="T45" fmla="*/ 800 h 1370"/>
                <a:gd name="T46" fmla="*/ 674 w 1111"/>
                <a:gd name="T47" fmla="*/ 787 h 1370"/>
                <a:gd name="T48" fmla="*/ 788 w 1111"/>
                <a:gd name="T49" fmla="*/ 1283 h 1370"/>
                <a:gd name="T50" fmla="*/ 739 w 1111"/>
                <a:gd name="T51" fmla="*/ 1311 h 1370"/>
                <a:gd name="T52" fmla="*/ 751 w 1111"/>
                <a:gd name="T53" fmla="*/ 1370 h 1370"/>
                <a:gd name="T54" fmla="*/ 894 w 1111"/>
                <a:gd name="T55" fmla="*/ 1370 h 1370"/>
                <a:gd name="T56" fmla="*/ 930 w 1111"/>
                <a:gd name="T57" fmla="*/ 1314 h 1370"/>
                <a:gd name="T58" fmla="*/ 753 w 1111"/>
                <a:gd name="T59" fmla="*/ 222 h 1370"/>
                <a:gd name="T60" fmla="*/ 903 w 1111"/>
                <a:gd name="T61" fmla="*/ 286 h 1370"/>
                <a:gd name="T62" fmla="*/ 992 w 1111"/>
                <a:gd name="T63" fmla="*/ 436 h 1370"/>
                <a:gd name="T64" fmla="*/ 1046 w 1111"/>
                <a:gd name="T65" fmla="*/ 458 h 1370"/>
                <a:gd name="T66" fmla="*/ 1093 w 1111"/>
                <a:gd name="T67" fmla="*/ 433 h 1370"/>
                <a:gd name="T68" fmla="*/ 1094 w 1111"/>
                <a:gd name="T69" fmla="*/ 371 h 1370"/>
                <a:gd name="T70" fmla="*/ 1027 w 1111"/>
                <a:gd name="T71" fmla="*/ 236 h 1370"/>
                <a:gd name="T72" fmla="*/ 941 w 1111"/>
                <a:gd name="T73" fmla="*/ 142 h 1370"/>
                <a:gd name="T74" fmla="*/ 793 w 1111"/>
                <a:gd name="T75" fmla="*/ 48 h 1370"/>
                <a:gd name="T76" fmla="*/ 669 w 1111"/>
                <a:gd name="T77" fmla="*/ 9 h 1370"/>
                <a:gd name="T78" fmla="*/ 517 w 1111"/>
                <a:gd name="T79" fmla="*/ 40 h 1370"/>
                <a:gd name="T80" fmla="*/ 365 w 1111"/>
                <a:gd name="T81" fmla="*/ 72 h 1370"/>
                <a:gd name="T82" fmla="*/ 259 w 1111"/>
                <a:gd name="T83" fmla="*/ 175 h 1370"/>
                <a:gd name="T84" fmla="*/ 204 w 1111"/>
                <a:gd name="T85" fmla="*/ 272 h 1370"/>
                <a:gd name="T86" fmla="*/ 117 w 1111"/>
                <a:gd name="T87" fmla="*/ 177 h 1370"/>
                <a:gd name="T88" fmla="*/ 59 w 1111"/>
                <a:gd name="T89" fmla="*/ 154 h 1370"/>
                <a:gd name="T90" fmla="*/ 18 w 1111"/>
                <a:gd name="T91" fmla="*/ 189 h 1370"/>
                <a:gd name="T92" fmla="*/ 19 w 1111"/>
                <a:gd name="T93" fmla="*/ 247 h 1370"/>
                <a:gd name="T94" fmla="*/ 158 w 1111"/>
                <a:gd name="T95" fmla="*/ 420 h 1370"/>
                <a:gd name="T96" fmla="*/ 286 w 1111"/>
                <a:gd name="T97" fmla="*/ 414 h 1370"/>
                <a:gd name="T98" fmla="*/ 374 w 1111"/>
                <a:gd name="T99" fmla="*/ 30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370">
                  <a:moveTo>
                    <a:pt x="491" y="131"/>
                  </a:moveTo>
                  <a:cubicBezTo>
                    <a:pt x="495" y="121"/>
                    <a:pt x="499" y="107"/>
                    <a:pt x="504" y="92"/>
                  </a:cubicBezTo>
                  <a:cubicBezTo>
                    <a:pt x="506" y="86"/>
                    <a:pt x="515" y="82"/>
                    <a:pt x="525" y="80"/>
                  </a:cubicBezTo>
                  <a:cubicBezTo>
                    <a:pt x="536" y="78"/>
                    <a:pt x="545" y="78"/>
                    <a:pt x="550" y="83"/>
                  </a:cubicBezTo>
                  <a:cubicBezTo>
                    <a:pt x="561" y="94"/>
                    <a:pt x="570" y="105"/>
                    <a:pt x="577" y="113"/>
                  </a:cubicBezTo>
                  <a:cubicBezTo>
                    <a:pt x="586" y="123"/>
                    <a:pt x="583" y="131"/>
                    <a:pt x="576" y="140"/>
                  </a:cubicBezTo>
                  <a:cubicBezTo>
                    <a:pt x="563" y="157"/>
                    <a:pt x="557" y="165"/>
                    <a:pt x="565" y="182"/>
                  </a:cubicBezTo>
                  <a:cubicBezTo>
                    <a:pt x="578" y="214"/>
                    <a:pt x="662" y="390"/>
                    <a:pt x="673" y="415"/>
                  </a:cubicBezTo>
                  <a:cubicBezTo>
                    <a:pt x="666" y="440"/>
                    <a:pt x="628" y="512"/>
                    <a:pt x="617" y="515"/>
                  </a:cubicBezTo>
                  <a:cubicBezTo>
                    <a:pt x="605" y="517"/>
                    <a:pt x="542" y="466"/>
                    <a:pt x="525" y="446"/>
                  </a:cubicBezTo>
                  <a:cubicBezTo>
                    <a:pt x="525" y="419"/>
                    <a:pt x="532" y="224"/>
                    <a:pt x="531" y="190"/>
                  </a:cubicBezTo>
                  <a:cubicBezTo>
                    <a:pt x="530" y="170"/>
                    <a:pt x="522" y="165"/>
                    <a:pt x="503" y="155"/>
                  </a:cubicBezTo>
                  <a:cubicBezTo>
                    <a:pt x="494" y="150"/>
                    <a:pt x="487" y="143"/>
                    <a:pt x="491" y="131"/>
                  </a:cubicBezTo>
                  <a:close/>
                  <a:moveTo>
                    <a:pt x="374" y="302"/>
                  </a:moveTo>
                  <a:cubicBezTo>
                    <a:pt x="381" y="337"/>
                    <a:pt x="411" y="476"/>
                    <a:pt x="442" y="621"/>
                  </a:cubicBezTo>
                  <a:cubicBezTo>
                    <a:pt x="395" y="633"/>
                    <a:pt x="336" y="648"/>
                    <a:pt x="303" y="656"/>
                  </a:cubicBezTo>
                  <a:cubicBezTo>
                    <a:pt x="262" y="667"/>
                    <a:pt x="250" y="722"/>
                    <a:pt x="266" y="764"/>
                  </a:cubicBezTo>
                  <a:cubicBezTo>
                    <a:pt x="315" y="895"/>
                    <a:pt x="335" y="944"/>
                    <a:pt x="357" y="1000"/>
                  </a:cubicBezTo>
                  <a:cubicBezTo>
                    <a:pt x="357" y="1010"/>
                    <a:pt x="333" y="1014"/>
                    <a:pt x="305" y="1023"/>
                  </a:cubicBezTo>
                  <a:cubicBezTo>
                    <a:pt x="277" y="1032"/>
                    <a:pt x="295" y="1080"/>
                    <a:pt x="315" y="1080"/>
                  </a:cubicBezTo>
                  <a:lnTo>
                    <a:pt x="458" y="1080"/>
                  </a:lnTo>
                  <a:cubicBezTo>
                    <a:pt x="476" y="1080"/>
                    <a:pt x="499" y="1064"/>
                    <a:pt x="495" y="1020"/>
                  </a:cubicBezTo>
                  <a:cubicBezTo>
                    <a:pt x="492" y="974"/>
                    <a:pt x="472" y="900"/>
                    <a:pt x="442" y="800"/>
                  </a:cubicBezTo>
                  <a:cubicBezTo>
                    <a:pt x="474" y="797"/>
                    <a:pt x="595" y="795"/>
                    <a:pt x="674" y="787"/>
                  </a:cubicBezTo>
                  <a:cubicBezTo>
                    <a:pt x="722" y="979"/>
                    <a:pt x="776" y="1201"/>
                    <a:pt x="788" y="1283"/>
                  </a:cubicBezTo>
                  <a:cubicBezTo>
                    <a:pt x="789" y="1293"/>
                    <a:pt x="764" y="1301"/>
                    <a:pt x="739" y="1311"/>
                  </a:cubicBezTo>
                  <a:cubicBezTo>
                    <a:pt x="699" y="1327"/>
                    <a:pt x="733" y="1370"/>
                    <a:pt x="751" y="1370"/>
                  </a:cubicBezTo>
                  <a:lnTo>
                    <a:pt x="894" y="1370"/>
                  </a:lnTo>
                  <a:cubicBezTo>
                    <a:pt x="913" y="1370"/>
                    <a:pt x="930" y="1362"/>
                    <a:pt x="930" y="1314"/>
                  </a:cubicBezTo>
                  <a:cubicBezTo>
                    <a:pt x="930" y="1212"/>
                    <a:pt x="775" y="323"/>
                    <a:pt x="753" y="222"/>
                  </a:cubicBezTo>
                  <a:cubicBezTo>
                    <a:pt x="808" y="244"/>
                    <a:pt x="849" y="259"/>
                    <a:pt x="903" y="286"/>
                  </a:cubicBezTo>
                  <a:cubicBezTo>
                    <a:pt x="935" y="338"/>
                    <a:pt x="965" y="390"/>
                    <a:pt x="992" y="436"/>
                  </a:cubicBezTo>
                  <a:cubicBezTo>
                    <a:pt x="1007" y="461"/>
                    <a:pt x="1024" y="469"/>
                    <a:pt x="1046" y="458"/>
                  </a:cubicBezTo>
                  <a:cubicBezTo>
                    <a:pt x="1064" y="450"/>
                    <a:pt x="1076" y="443"/>
                    <a:pt x="1093" y="433"/>
                  </a:cubicBezTo>
                  <a:cubicBezTo>
                    <a:pt x="1105" y="427"/>
                    <a:pt x="1111" y="406"/>
                    <a:pt x="1094" y="371"/>
                  </a:cubicBezTo>
                  <a:cubicBezTo>
                    <a:pt x="1070" y="323"/>
                    <a:pt x="1048" y="279"/>
                    <a:pt x="1027" y="236"/>
                  </a:cubicBezTo>
                  <a:cubicBezTo>
                    <a:pt x="1001" y="182"/>
                    <a:pt x="968" y="160"/>
                    <a:pt x="941" y="142"/>
                  </a:cubicBezTo>
                  <a:cubicBezTo>
                    <a:pt x="893" y="111"/>
                    <a:pt x="845" y="80"/>
                    <a:pt x="793" y="48"/>
                  </a:cubicBezTo>
                  <a:cubicBezTo>
                    <a:pt x="733" y="11"/>
                    <a:pt x="714" y="0"/>
                    <a:pt x="669" y="9"/>
                  </a:cubicBezTo>
                  <a:cubicBezTo>
                    <a:pt x="643" y="13"/>
                    <a:pt x="583" y="27"/>
                    <a:pt x="517" y="40"/>
                  </a:cubicBezTo>
                  <a:cubicBezTo>
                    <a:pt x="452" y="54"/>
                    <a:pt x="391" y="67"/>
                    <a:pt x="365" y="72"/>
                  </a:cubicBezTo>
                  <a:cubicBezTo>
                    <a:pt x="315" y="83"/>
                    <a:pt x="294" y="114"/>
                    <a:pt x="259" y="175"/>
                  </a:cubicBezTo>
                  <a:cubicBezTo>
                    <a:pt x="240" y="208"/>
                    <a:pt x="222" y="241"/>
                    <a:pt x="204" y="272"/>
                  </a:cubicBezTo>
                  <a:cubicBezTo>
                    <a:pt x="179" y="247"/>
                    <a:pt x="193" y="262"/>
                    <a:pt x="117" y="177"/>
                  </a:cubicBezTo>
                  <a:cubicBezTo>
                    <a:pt x="91" y="147"/>
                    <a:pt x="69" y="145"/>
                    <a:pt x="59" y="154"/>
                  </a:cubicBezTo>
                  <a:cubicBezTo>
                    <a:pt x="44" y="167"/>
                    <a:pt x="33" y="175"/>
                    <a:pt x="18" y="189"/>
                  </a:cubicBezTo>
                  <a:cubicBezTo>
                    <a:pt x="0" y="205"/>
                    <a:pt x="1" y="224"/>
                    <a:pt x="19" y="247"/>
                  </a:cubicBezTo>
                  <a:cubicBezTo>
                    <a:pt x="42" y="276"/>
                    <a:pt x="131" y="389"/>
                    <a:pt x="158" y="420"/>
                  </a:cubicBezTo>
                  <a:cubicBezTo>
                    <a:pt x="189" y="455"/>
                    <a:pt x="245" y="460"/>
                    <a:pt x="286" y="414"/>
                  </a:cubicBezTo>
                  <a:cubicBezTo>
                    <a:pt x="305" y="392"/>
                    <a:pt x="350" y="334"/>
                    <a:pt x="374" y="302"/>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sp>
          <p:nvSpPr>
            <p:cNvPr id="46" name="Freeform 345">
              <a:extLst>
                <a:ext uri="{FF2B5EF4-FFF2-40B4-BE49-F238E27FC236}">
                  <a16:creationId xmlns:a16="http://schemas.microsoft.com/office/drawing/2014/main" id="{2758794E-03FC-49C6-A314-FB01B823F6C4}"/>
                </a:ext>
              </a:extLst>
            </p:cNvPr>
            <p:cNvSpPr>
              <a:spLocks/>
            </p:cNvSpPr>
            <p:nvPr/>
          </p:nvSpPr>
          <p:spPr bwMode="auto">
            <a:xfrm>
              <a:off x="6253163" y="-142875"/>
              <a:ext cx="239713" cy="282575"/>
            </a:xfrm>
            <a:custGeom>
              <a:avLst/>
              <a:gdLst>
                <a:gd name="T0" fmla="*/ 193 w 314"/>
                <a:gd name="T1" fmla="*/ 355 h 371"/>
                <a:gd name="T2" fmla="*/ 20 w 314"/>
                <a:gd name="T3" fmla="*/ 214 h 371"/>
                <a:gd name="T4" fmla="*/ 121 w 314"/>
                <a:gd name="T5" fmla="*/ 16 h 371"/>
                <a:gd name="T6" fmla="*/ 294 w 314"/>
                <a:gd name="T7" fmla="*/ 156 h 371"/>
                <a:gd name="T8" fmla="*/ 193 w 314"/>
                <a:gd name="T9" fmla="*/ 355 h 371"/>
              </a:gdLst>
              <a:ahLst/>
              <a:cxnLst>
                <a:cxn ang="0">
                  <a:pos x="T0" y="T1"/>
                </a:cxn>
                <a:cxn ang="0">
                  <a:pos x="T2" y="T3"/>
                </a:cxn>
                <a:cxn ang="0">
                  <a:pos x="T4" y="T5"/>
                </a:cxn>
                <a:cxn ang="0">
                  <a:pos x="T6" y="T7"/>
                </a:cxn>
                <a:cxn ang="0">
                  <a:pos x="T8" y="T9"/>
                </a:cxn>
              </a:cxnLst>
              <a:rect l="0" t="0" r="r" b="b"/>
              <a:pathLst>
                <a:path w="314" h="371">
                  <a:moveTo>
                    <a:pt x="193" y="355"/>
                  </a:moveTo>
                  <a:cubicBezTo>
                    <a:pt x="117" y="371"/>
                    <a:pt x="39" y="308"/>
                    <a:pt x="20" y="214"/>
                  </a:cubicBezTo>
                  <a:cubicBezTo>
                    <a:pt x="0" y="121"/>
                    <a:pt x="46" y="32"/>
                    <a:pt x="121" y="16"/>
                  </a:cubicBezTo>
                  <a:cubicBezTo>
                    <a:pt x="197" y="0"/>
                    <a:pt x="275" y="63"/>
                    <a:pt x="294" y="156"/>
                  </a:cubicBezTo>
                  <a:cubicBezTo>
                    <a:pt x="314" y="250"/>
                    <a:pt x="269" y="339"/>
                    <a:pt x="193" y="355"/>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sp>
          <p:nvSpPr>
            <p:cNvPr id="47" name="Freeform 346">
              <a:extLst>
                <a:ext uri="{FF2B5EF4-FFF2-40B4-BE49-F238E27FC236}">
                  <a16:creationId xmlns:a16="http://schemas.microsoft.com/office/drawing/2014/main" id="{F769B017-E350-447E-B7ED-9CEFD9967CCE}"/>
                </a:ext>
              </a:extLst>
            </p:cNvPr>
            <p:cNvSpPr>
              <a:spLocks/>
            </p:cNvSpPr>
            <p:nvPr/>
          </p:nvSpPr>
          <p:spPr bwMode="auto">
            <a:xfrm>
              <a:off x="5856288" y="765175"/>
              <a:ext cx="1203325" cy="696913"/>
            </a:xfrm>
            <a:custGeom>
              <a:avLst/>
              <a:gdLst>
                <a:gd name="T0" fmla="*/ 1131 w 1580"/>
                <a:gd name="T1" fmla="*/ 883 h 914"/>
                <a:gd name="T2" fmla="*/ 1131 w 1580"/>
                <a:gd name="T3" fmla="*/ 629 h 914"/>
                <a:gd name="T4" fmla="*/ 774 w 1580"/>
                <a:gd name="T5" fmla="*/ 629 h 914"/>
                <a:gd name="T6" fmla="*/ 743 w 1580"/>
                <a:gd name="T7" fmla="*/ 599 h 914"/>
                <a:gd name="T8" fmla="*/ 743 w 1580"/>
                <a:gd name="T9" fmla="*/ 345 h 914"/>
                <a:gd name="T10" fmla="*/ 386 w 1580"/>
                <a:gd name="T11" fmla="*/ 345 h 914"/>
                <a:gd name="T12" fmla="*/ 386 w 1580"/>
                <a:gd name="T13" fmla="*/ 345 h 914"/>
                <a:gd name="T14" fmla="*/ 355 w 1580"/>
                <a:gd name="T15" fmla="*/ 315 h 914"/>
                <a:gd name="T16" fmla="*/ 355 w 1580"/>
                <a:gd name="T17" fmla="*/ 61 h 914"/>
                <a:gd name="T18" fmla="*/ 31 w 1580"/>
                <a:gd name="T19" fmla="*/ 61 h 914"/>
                <a:gd name="T20" fmla="*/ 0 w 1580"/>
                <a:gd name="T21" fmla="*/ 30 h 914"/>
                <a:gd name="T22" fmla="*/ 31 w 1580"/>
                <a:gd name="T23" fmla="*/ 0 h 914"/>
                <a:gd name="T24" fmla="*/ 386 w 1580"/>
                <a:gd name="T25" fmla="*/ 0 h 914"/>
                <a:gd name="T26" fmla="*/ 416 w 1580"/>
                <a:gd name="T27" fmla="*/ 30 h 914"/>
                <a:gd name="T28" fmla="*/ 416 w 1580"/>
                <a:gd name="T29" fmla="*/ 284 h 914"/>
                <a:gd name="T30" fmla="*/ 774 w 1580"/>
                <a:gd name="T31" fmla="*/ 284 h 914"/>
                <a:gd name="T32" fmla="*/ 804 w 1580"/>
                <a:gd name="T33" fmla="*/ 315 h 914"/>
                <a:gd name="T34" fmla="*/ 804 w 1580"/>
                <a:gd name="T35" fmla="*/ 568 h 914"/>
                <a:gd name="T36" fmla="*/ 1162 w 1580"/>
                <a:gd name="T37" fmla="*/ 568 h 914"/>
                <a:gd name="T38" fmla="*/ 1192 w 1580"/>
                <a:gd name="T39" fmla="*/ 599 h 914"/>
                <a:gd name="T40" fmla="*/ 1192 w 1580"/>
                <a:gd name="T41" fmla="*/ 853 h 914"/>
                <a:gd name="T42" fmla="*/ 1550 w 1580"/>
                <a:gd name="T43" fmla="*/ 853 h 914"/>
                <a:gd name="T44" fmla="*/ 1580 w 1580"/>
                <a:gd name="T45" fmla="*/ 883 h 914"/>
                <a:gd name="T46" fmla="*/ 1544 w 1580"/>
                <a:gd name="T47" fmla="*/ 914 h 914"/>
                <a:gd name="T48" fmla="*/ 1162 w 1580"/>
                <a:gd name="T49" fmla="*/ 914 h 914"/>
                <a:gd name="T50" fmla="*/ 1131 w 1580"/>
                <a:gd name="T51" fmla="*/ 8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0" h="914">
                  <a:moveTo>
                    <a:pt x="1131" y="883"/>
                  </a:moveTo>
                  <a:lnTo>
                    <a:pt x="1131" y="629"/>
                  </a:lnTo>
                  <a:lnTo>
                    <a:pt x="774" y="629"/>
                  </a:lnTo>
                  <a:cubicBezTo>
                    <a:pt x="757" y="629"/>
                    <a:pt x="743" y="616"/>
                    <a:pt x="743" y="599"/>
                  </a:cubicBezTo>
                  <a:lnTo>
                    <a:pt x="743" y="345"/>
                  </a:lnTo>
                  <a:lnTo>
                    <a:pt x="386" y="345"/>
                  </a:lnTo>
                  <a:lnTo>
                    <a:pt x="386" y="345"/>
                  </a:lnTo>
                  <a:cubicBezTo>
                    <a:pt x="369" y="345"/>
                    <a:pt x="355" y="331"/>
                    <a:pt x="355" y="315"/>
                  </a:cubicBezTo>
                  <a:lnTo>
                    <a:pt x="355" y="61"/>
                  </a:lnTo>
                  <a:lnTo>
                    <a:pt x="31" y="61"/>
                  </a:lnTo>
                  <a:cubicBezTo>
                    <a:pt x="14" y="61"/>
                    <a:pt x="0" y="47"/>
                    <a:pt x="0" y="30"/>
                  </a:cubicBezTo>
                  <a:cubicBezTo>
                    <a:pt x="0" y="13"/>
                    <a:pt x="14" y="0"/>
                    <a:pt x="31" y="0"/>
                  </a:cubicBezTo>
                  <a:lnTo>
                    <a:pt x="386" y="0"/>
                  </a:lnTo>
                  <a:cubicBezTo>
                    <a:pt x="402" y="0"/>
                    <a:pt x="416" y="13"/>
                    <a:pt x="416" y="30"/>
                  </a:cubicBezTo>
                  <a:lnTo>
                    <a:pt x="416" y="284"/>
                  </a:lnTo>
                  <a:lnTo>
                    <a:pt x="774" y="284"/>
                  </a:lnTo>
                  <a:cubicBezTo>
                    <a:pt x="790" y="284"/>
                    <a:pt x="804" y="298"/>
                    <a:pt x="804" y="315"/>
                  </a:cubicBezTo>
                  <a:lnTo>
                    <a:pt x="804" y="568"/>
                  </a:lnTo>
                  <a:lnTo>
                    <a:pt x="1162" y="568"/>
                  </a:lnTo>
                  <a:cubicBezTo>
                    <a:pt x="1179" y="568"/>
                    <a:pt x="1192" y="582"/>
                    <a:pt x="1192" y="599"/>
                  </a:cubicBezTo>
                  <a:lnTo>
                    <a:pt x="1192" y="853"/>
                  </a:lnTo>
                  <a:lnTo>
                    <a:pt x="1550" y="853"/>
                  </a:lnTo>
                  <a:cubicBezTo>
                    <a:pt x="1567" y="853"/>
                    <a:pt x="1580" y="866"/>
                    <a:pt x="1580" y="883"/>
                  </a:cubicBezTo>
                  <a:cubicBezTo>
                    <a:pt x="1580" y="899"/>
                    <a:pt x="1568" y="914"/>
                    <a:pt x="1544" y="914"/>
                  </a:cubicBezTo>
                  <a:lnTo>
                    <a:pt x="1162" y="914"/>
                  </a:lnTo>
                  <a:cubicBezTo>
                    <a:pt x="1145" y="914"/>
                    <a:pt x="1131" y="900"/>
                    <a:pt x="1131" y="883"/>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cs typeface="Helvetica"/>
              </a:endParaRPr>
            </a:p>
          </p:txBody>
        </p:sp>
      </p:grpSp>
      <p:sp>
        <p:nvSpPr>
          <p:cNvPr id="60" name="Rectángulo 59"/>
          <p:cNvSpPr/>
          <p:nvPr/>
        </p:nvSpPr>
        <p:spPr>
          <a:xfrm>
            <a:off x="1314036" y="2674632"/>
            <a:ext cx="189398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概要と期待効果</a:t>
            </a:r>
            <a:endParaRPr kumimoji="0" 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endParaRPr>
          </a:p>
        </p:txBody>
      </p:sp>
      <p:grpSp>
        <p:nvGrpSpPr>
          <p:cNvPr id="66" name="Group 14">
            <a:extLst>
              <a:ext uri="{FF2B5EF4-FFF2-40B4-BE49-F238E27FC236}">
                <a16:creationId xmlns:a16="http://schemas.microsoft.com/office/drawing/2014/main" id="{1C37A94A-2FB5-48D0-A786-B43F2FD416E0}"/>
              </a:ext>
            </a:extLst>
          </p:cNvPr>
          <p:cNvGrpSpPr/>
          <p:nvPr/>
        </p:nvGrpSpPr>
        <p:grpSpPr>
          <a:xfrm>
            <a:off x="6069685" y="1464235"/>
            <a:ext cx="552985" cy="552985"/>
            <a:chOff x="761861" y="3510594"/>
            <a:chExt cx="552985" cy="552985"/>
          </a:xfrm>
        </p:grpSpPr>
        <p:sp>
          <p:nvSpPr>
            <p:cNvPr id="67"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68"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entury Gothic"/>
                <a:cs typeface="Helvetica"/>
              </a:endParaRPr>
            </a:p>
          </p:txBody>
        </p:sp>
        <p:sp>
          <p:nvSpPr>
            <p:cNvPr id="69" name="Identification">
              <a:extLst>
                <a:ext uri="{FF2B5EF4-FFF2-40B4-BE49-F238E27FC236}">
                  <a16:creationId xmlns:a16="http://schemas.microsoft.com/office/drawing/2014/main" id="{985152F4-D0AD-4849-84AF-E45ED4C87A0A}"/>
                </a:ext>
              </a:extLst>
            </p:cNvPr>
            <p:cNvSpPr>
              <a:spLocks/>
            </p:cNvSpPr>
            <p:nvPr>
              <p:custDataLst>
                <p:tags r:id="rId2"/>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Helvetica"/>
              </a:endParaRPr>
            </a:p>
          </p:txBody>
        </p:sp>
      </p:grpSp>
      <p:sp>
        <p:nvSpPr>
          <p:cNvPr id="76" name="Rectángulo 75"/>
          <p:cNvSpPr/>
          <p:nvPr/>
        </p:nvSpPr>
        <p:spPr>
          <a:xfrm>
            <a:off x="6636559" y="1464235"/>
            <a:ext cx="359906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自動化された業務の紹介</a:t>
            </a:r>
            <a:r>
              <a:rPr kumimoji="0" lang="ja-JP" altLang="es-E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抜粋例）</a:t>
            </a:r>
            <a:endParaRPr kumimoji="0" 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endParaRPr>
          </a:p>
        </p:txBody>
      </p:sp>
      <p:grpSp>
        <p:nvGrpSpPr>
          <p:cNvPr id="83" name="Reload" descr="{&quot;Key&quot;:&quot;POWER_USER_SHAPE_ICON&quot;,&quot;Value&quot;:&quot;POWER_USER_SHAPE_ICON_STYLE_1&quot;}">
            <a:extLst>
              <a:ext uri="{FF2B5EF4-FFF2-40B4-BE49-F238E27FC236}">
                <a16:creationId xmlns:a16="http://schemas.microsoft.com/office/drawing/2014/main" id="{B7E41015-6448-458A-847D-85999440ADC4}"/>
              </a:ext>
            </a:extLst>
          </p:cNvPr>
          <p:cNvGrpSpPr>
            <a:grpSpLocks noChangeAspect="1"/>
          </p:cNvGrpSpPr>
          <p:nvPr/>
        </p:nvGrpSpPr>
        <p:grpSpPr>
          <a:xfrm>
            <a:off x="6203386" y="1541226"/>
            <a:ext cx="310779" cy="359246"/>
            <a:chOff x="10224666" y="2948305"/>
            <a:chExt cx="122586" cy="141705"/>
          </a:xfrm>
          <a:solidFill>
            <a:schemeClr val="bg1"/>
          </a:solidFill>
        </p:grpSpPr>
        <p:sp>
          <p:nvSpPr>
            <p:cNvPr id="84" name="Freeform 142">
              <a:extLst>
                <a:ext uri="{FF2B5EF4-FFF2-40B4-BE49-F238E27FC236}">
                  <a16:creationId xmlns:a16="http://schemas.microsoft.com/office/drawing/2014/main" id="{2F8EB3B7-807C-400B-87FC-1194C7B03222}"/>
                </a:ext>
              </a:extLst>
            </p:cNvPr>
            <p:cNvSpPr>
              <a:spLocks noChangeAspect="1"/>
            </p:cNvSpPr>
            <p:nvPr/>
          </p:nvSpPr>
          <p:spPr bwMode="auto">
            <a:xfrm>
              <a:off x="10224666" y="2965928"/>
              <a:ext cx="122586" cy="124082"/>
            </a:xfrm>
            <a:custGeom>
              <a:avLst/>
              <a:gdLst>
                <a:gd name="T0" fmla="*/ 107 w 213"/>
                <a:gd name="T1" fmla="*/ 214 h 214"/>
                <a:gd name="T2" fmla="*/ 0 w 213"/>
                <a:gd name="T3" fmla="*/ 107 h 214"/>
                <a:gd name="T4" fmla="*/ 107 w 213"/>
                <a:gd name="T5" fmla="*/ 0 h 214"/>
                <a:gd name="T6" fmla="*/ 156 w 213"/>
                <a:gd name="T7" fmla="*/ 12 h 214"/>
                <a:gd name="T8" fmla="*/ 148 w 213"/>
                <a:gd name="T9" fmla="*/ 27 h 214"/>
                <a:gd name="T10" fmla="*/ 107 w 213"/>
                <a:gd name="T11" fmla="*/ 17 h 214"/>
                <a:gd name="T12" fmla="*/ 17 w 213"/>
                <a:gd name="T13" fmla="*/ 107 h 214"/>
                <a:gd name="T14" fmla="*/ 107 w 213"/>
                <a:gd name="T15" fmla="*/ 197 h 214"/>
                <a:gd name="T16" fmla="*/ 197 w 213"/>
                <a:gd name="T17" fmla="*/ 107 h 214"/>
                <a:gd name="T18" fmla="*/ 170 w 213"/>
                <a:gd name="T19" fmla="*/ 43 h 214"/>
                <a:gd name="T20" fmla="*/ 182 w 213"/>
                <a:gd name="T21" fmla="*/ 32 h 214"/>
                <a:gd name="T22" fmla="*/ 213 w 213"/>
                <a:gd name="T23" fmla="*/ 107 h 214"/>
                <a:gd name="T24" fmla="*/ 107 w 213"/>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14">
                  <a:moveTo>
                    <a:pt x="107" y="214"/>
                  </a:moveTo>
                  <a:cubicBezTo>
                    <a:pt x="48" y="214"/>
                    <a:pt x="0" y="166"/>
                    <a:pt x="0" y="107"/>
                  </a:cubicBezTo>
                  <a:cubicBezTo>
                    <a:pt x="0" y="48"/>
                    <a:pt x="48" y="0"/>
                    <a:pt x="107" y="0"/>
                  </a:cubicBezTo>
                  <a:cubicBezTo>
                    <a:pt x="124" y="0"/>
                    <a:pt x="141" y="5"/>
                    <a:pt x="156" y="12"/>
                  </a:cubicBezTo>
                  <a:lnTo>
                    <a:pt x="148" y="27"/>
                  </a:lnTo>
                  <a:cubicBezTo>
                    <a:pt x="135" y="20"/>
                    <a:pt x="121" y="17"/>
                    <a:pt x="107" y="17"/>
                  </a:cubicBezTo>
                  <a:cubicBezTo>
                    <a:pt x="57" y="17"/>
                    <a:pt x="17" y="57"/>
                    <a:pt x="17" y="107"/>
                  </a:cubicBezTo>
                  <a:cubicBezTo>
                    <a:pt x="17" y="157"/>
                    <a:pt x="57" y="197"/>
                    <a:pt x="107" y="197"/>
                  </a:cubicBezTo>
                  <a:cubicBezTo>
                    <a:pt x="156" y="197"/>
                    <a:pt x="197" y="157"/>
                    <a:pt x="197" y="107"/>
                  </a:cubicBezTo>
                  <a:cubicBezTo>
                    <a:pt x="197" y="83"/>
                    <a:pt x="187" y="60"/>
                    <a:pt x="170" y="43"/>
                  </a:cubicBezTo>
                  <a:lnTo>
                    <a:pt x="182" y="32"/>
                  </a:lnTo>
                  <a:cubicBezTo>
                    <a:pt x="202" y="52"/>
                    <a:pt x="213" y="79"/>
                    <a:pt x="213" y="107"/>
                  </a:cubicBezTo>
                  <a:cubicBezTo>
                    <a:pt x="213" y="166"/>
                    <a:pt x="166" y="214"/>
                    <a:pt x="107"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cs typeface="Helvetica"/>
              </a:endParaRPr>
            </a:p>
          </p:txBody>
        </p:sp>
        <p:sp>
          <p:nvSpPr>
            <p:cNvPr id="85" name="Freeform 491">
              <a:extLst>
                <a:ext uri="{FF2B5EF4-FFF2-40B4-BE49-F238E27FC236}">
                  <a16:creationId xmlns:a16="http://schemas.microsoft.com/office/drawing/2014/main" id="{10896075-EFC8-430E-9CD7-D086FCDEE80A}"/>
                </a:ext>
              </a:extLst>
            </p:cNvPr>
            <p:cNvSpPr>
              <a:spLocks noChangeAspect="1"/>
            </p:cNvSpPr>
            <p:nvPr/>
          </p:nvSpPr>
          <p:spPr bwMode="auto">
            <a:xfrm rot="511342">
              <a:off x="10277295" y="2948305"/>
              <a:ext cx="41735" cy="49260"/>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cs typeface="Helvetica"/>
              </a:endParaRPr>
            </a:p>
          </p:txBody>
        </p:sp>
      </p:grpSp>
      <p:sp>
        <p:nvSpPr>
          <p:cNvPr id="77" name="Rectángulo 61"/>
          <p:cNvSpPr/>
          <p:nvPr/>
        </p:nvSpPr>
        <p:spPr>
          <a:xfrm>
            <a:off x="1293435" y="4830557"/>
            <a:ext cx="114438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削減効果</a:t>
            </a:r>
            <a:endParaRPr kumimoji="0" 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endParaRPr>
          </a:p>
        </p:txBody>
      </p:sp>
      <p:sp>
        <p:nvSpPr>
          <p:cNvPr id="48" name="Rectángulo 85"/>
          <p:cNvSpPr/>
          <p:nvPr/>
        </p:nvSpPr>
        <p:spPr>
          <a:xfrm>
            <a:off x="871091" y="5411364"/>
            <a:ext cx="549831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      </a:t>
            </a:r>
            <a:r>
              <a:rPr kumimoji="0" lang="ja-JP" altLang="es-ES"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対象業務の</a:t>
            </a:r>
            <a:r>
              <a:rPr lang="es-ES" altLang="ja-JP" dirty="0">
                <a:solidFill>
                  <a:prstClr val="black"/>
                </a:solidFill>
                <a:latin typeface="ＭＳ Ｐゴシック" panose="020B0600070205080204" pitchFamily="50" charset="-128"/>
                <a:ea typeface="ＭＳ Ｐゴシック" panose="020B0600070205080204" pitchFamily="50" charset="-128"/>
                <a:cs typeface="Helvetica"/>
              </a:rPr>
              <a:t>90%</a:t>
            </a:r>
            <a:r>
              <a:rPr lang="ja-JP" altLang="es-ES" dirty="0">
                <a:solidFill>
                  <a:prstClr val="black"/>
                </a:solidFill>
                <a:latin typeface="ＭＳ Ｐゴシック" panose="020B0600070205080204" pitchFamily="50" charset="-128"/>
                <a:ea typeface="ＭＳ Ｐゴシック" panose="020B0600070205080204" pitchFamily="50" charset="-128"/>
                <a:cs typeface="Helvetica"/>
              </a:rPr>
              <a:t>自動化</a:t>
            </a:r>
            <a:endParaRPr lang="es-ES" altLang="ja-JP" dirty="0">
              <a:solidFill>
                <a:prstClr val="black"/>
              </a:solidFill>
              <a:latin typeface="ＭＳ Ｐゴシック" panose="020B0600070205080204" pitchFamily="50" charset="-128"/>
              <a:ea typeface="ＭＳ Ｐゴシック" panose="020B0600070205080204" pitchFamily="50" charset="-128"/>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　　　年間約</a:t>
            </a:r>
            <a:r>
              <a:rPr kumimoji="0" lang="es-ES" altLang="ja-JP"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1MUSD</a:t>
            </a:r>
            <a:r>
              <a:rPr kumimoji="0" lang="ja-JP" altLang="es-ES"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rPr>
              <a:t>のコスト削減</a:t>
            </a:r>
            <a:endParaRPr kumimoji="0" lang="en-US"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Helvetica"/>
            </a:endParaRPr>
          </a:p>
        </p:txBody>
      </p:sp>
      <p:sp>
        <p:nvSpPr>
          <p:cNvPr id="17" name="TextBox 1">
            <a:extLst>
              <a:ext uri="{FF2B5EF4-FFF2-40B4-BE49-F238E27FC236}">
                <a16:creationId xmlns:a16="http://schemas.microsoft.com/office/drawing/2014/main" id="{D963528D-61F6-642B-24DD-7E1B8039780D}"/>
              </a:ext>
            </a:extLst>
          </p:cNvPr>
          <p:cNvSpPr txBox="1"/>
          <p:nvPr/>
        </p:nvSpPr>
        <p:spPr>
          <a:xfrm>
            <a:off x="6107785" y="2138888"/>
            <a:ext cx="7053501" cy="3422063"/>
          </a:xfrm>
          <a:prstGeom prst="rect">
            <a:avLst/>
          </a:prstGeom>
          <a:noFill/>
          <a:ln w="12700" cap="flat">
            <a:noFill/>
            <a:miter lim="400000"/>
          </a:ln>
          <a:effectLst/>
          <a:sp3d/>
        </p:spPr>
        <p:txBody>
          <a:bodyPr rot="0" spcFirstLastPara="1" vertOverflow="overflow" horzOverflow="overflow" vert="horz" wrap="square" lIns="25400" tIns="25400" rIns="25400" bIns="25400" numCol="1" spcCol="38100" rtlCol="0" anchor="t">
            <a:noAutofit/>
          </a:bodyPr>
          <a:lstStyle/>
          <a:p>
            <a:pPr hangingPunct="0">
              <a:defRPr/>
            </a:pPr>
            <a:r>
              <a:rPr lang="ja-JP" altLang="es-ES" sz="1600" kern="0" dirty="0">
                <a:solidFill>
                  <a:srgbClr val="000000"/>
                </a:solidFill>
                <a:cs typeface="Calibri"/>
                <a:sym typeface="Calibri"/>
              </a:rPr>
              <a:t>作業コストおよびオペレーションリスクの低減</a:t>
            </a:r>
            <a:endParaRPr lang="es-ES"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主に、下記の業務領域にて自動化を実施（抜粋）</a:t>
            </a:r>
            <a:endParaRPr lang="es-ES" altLang="ja-JP" sz="1600" kern="0" dirty="0">
              <a:solidFill>
                <a:srgbClr val="000000"/>
              </a:solidFill>
              <a:cs typeface="Calibri"/>
              <a:sym typeface="Calibri"/>
            </a:endParaRPr>
          </a:p>
          <a:p>
            <a:pPr hangingPunct="0">
              <a:defRPr/>
            </a:pPr>
            <a:endParaRPr lang="es-ES" sz="1600" kern="0" dirty="0">
              <a:solidFill>
                <a:srgbClr val="000000"/>
              </a:solidFill>
              <a:cs typeface="Calibri"/>
              <a:sym typeface="Calibri"/>
            </a:endParaRPr>
          </a:p>
          <a:p>
            <a:pPr marL="171450" indent="-171450" hangingPunct="0">
              <a:buFont typeface="Arial" panose="020B0604020202020204" pitchFamily="34" charset="0"/>
              <a:buChar char="•"/>
              <a:defRPr/>
            </a:pPr>
            <a:r>
              <a:rPr lang="ja-JP" altLang="es-ES" sz="1600" kern="0" dirty="0">
                <a:solidFill>
                  <a:srgbClr val="000000"/>
                </a:solidFill>
                <a:cs typeface="Calibri"/>
                <a:sym typeface="Calibri"/>
              </a:rPr>
              <a:t>カスタマーサービス</a:t>
            </a:r>
            <a:r>
              <a:rPr lang="es-ES" altLang="ja-JP" sz="1600" kern="0" dirty="0">
                <a:solidFill>
                  <a:srgbClr val="000000"/>
                </a:solidFill>
                <a:cs typeface="Calibri"/>
                <a:sym typeface="Calibri"/>
              </a:rPr>
              <a:t>:</a:t>
            </a:r>
          </a:p>
          <a:p>
            <a:pPr hangingPunct="0">
              <a:defRPr/>
            </a:pPr>
            <a:r>
              <a:rPr lang="ja-JP" altLang="es-ES" sz="1600" kern="0" dirty="0">
                <a:solidFill>
                  <a:srgbClr val="000000"/>
                </a:solidFill>
                <a:cs typeface="Calibri"/>
                <a:sym typeface="Calibri"/>
              </a:rPr>
              <a:t>　－クレーム対応</a:t>
            </a:r>
            <a:endParaRPr lang="es-ES" altLang="ja-JP"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　－郵送物の追跡</a:t>
            </a:r>
            <a:endParaRPr lang="es-ES" altLang="ja-JP"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　－返品インシデント管理</a:t>
            </a:r>
            <a:endParaRPr lang="es-ES" altLang="ja-JP"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　－輸入関連の帳票依頼　　　</a:t>
            </a:r>
            <a:endParaRPr lang="es-ES" altLang="ja-JP" sz="1600" kern="0" dirty="0">
              <a:solidFill>
                <a:srgbClr val="000000"/>
              </a:solidFill>
              <a:cs typeface="Calibri"/>
              <a:sym typeface="Calibri"/>
            </a:endParaRPr>
          </a:p>
          <a:p>
            <a:pPr hangingPunct="0">
              <a:defRPr/>
            </a:pPr>
            <a:endParaRPr lang="es-ES" altLang="ja-JP" sz="1600" kern="0" dirty="0">
              <a:solidFill>
                <a:srgbClr val="000000"/>
              </a:solidFill>
              <a:cs typeface="Calibri"/>
              <a:sym typeface="Calibri"/>
            </a:endParaRPr>
          </a:p>
          <a:p>
            <a:pPr marL="171450" indent="-171450" hangingPunct="0">
              <a:buFont typeface="Arial" panose="020B0604020202020204" pitchFamily="34" charset="0"/>
              <a:buChar char="•"/>
              <a:defRPr/>
            </a:pPr>
            <a:r>
              <a:rPr lang="ja-JP" altLang="es-ES" sz="1600" kern="0" dirty="0">
                <a:solidFill>
                  <a:srgbClr val="000000"/>
                </a:solidFill>
                <a:cs typeface="Calibri"/>
                <a:sym typeface="Calibri"/>
              </a:rPr>
              <a:t>人事</a:t>
            </a:r>
            <a:r>
              <a:rPr lang="es-ES" altLang="ja-JP" sz="1600" kern="0" dirty="0">
                <a:solidFill>
                  <a:srgbClr val="000000"/>
                </a:solidFill>
                <a:cs typeface="Calibri"/>
                <a:sym typeface="Calibri"/>
              </a:rPr>
              <a:t>:</a:t>
            </a:r>
          </a:p>
          <a:p>
            <a:pPr hangingPunct="0">
              <a:defRPr/>
            </a:pPr>
            <a:r>
              <a:rPr lang="ja-JP" altLang="es-ES" sz="1600" kern="0" dirty="0">
                <a:solidFill>
                  <a:srgbClr val="000000"/>
                </a:solidFill>
                <a:cs typeface="Calibri"/>
                <a:sym typeface="Calibri"/>
              </a:rPr>
              <a:t>　－毎月の受講トレーニングに関するアンケートの集計</a:t>
            </a:r>
            <a:endParaRPr lang="es-ES" altLang="ja-JP"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　－</a:t>
            </a:r>
            <a:r>
              <a:rPr lang="es-ES" altLang="ja-JP" sz="1600" kern="0" dirty="0">
                <a:solidFill>
                  <a:srgbClr val="000000"/>
                </a:solidFill>
                <a:cs typeface="Calibri"/>
                <a:sym typeface="Calibri"/>
              </a:rPr>
              <a:t>SAP</a:t>
            </a:r>
            <a:r>
              <a:rPr lang="ja-JP" altLang="es-ES" sz="1600" kern="0" dirty="0">
                <a:solidFill>
                  <a:srgbClr val="000000"/>
                </a:solidFill>
                <a:cs typeface="Calibri"/>
                <a:sym typeface="Calibri"/>
              </a:rPr>
              <a:t>のトレーニング作成、更新、トレーニング結果集計</a:t>
            </a:r>
            <a:endParaRPr lang="es-ES" altLang="ja-JP"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　－トレーニング受講登録</a:t>
            </a:r>
            <a:endParaRPr lang="es-ES" altLang="ja-JP" sz="1600" kern="0" dirty="0">
              <a:solidFill>
                <a:srgbClr val="000000"/>
              </a:solidFill>
              <a:cs typeface="Calibri"/>
              <a:sym typeface="Calibri"/>
            </a:endParaRPr>
          </a:p>
          <a:p>
            <a:pPr hangingPunct="0">
              <a:defRPr/>
            </a:pPr>
            <a:r>
              <a:rPr lang="ja-JP" altLang="es-ES" sz="1600" kern="0" dirty="0">
                <a:solidFill>
                  <a:srgbClr val="000000"/>
                </a:solidFill>
                <a:cs typeface="Calibri"/>
                <a:sym typeface="Calibri"/>
              </a:rPr>
              <a:t>　－</a:t>
            </a:r>
            <a:r>
              <a:rPr lang="es-ES" altLang="ja-JP" sz="1600" kern="0" dirty="0">
                <a:solidFill>
                  <a:srgbClr val="000000"/>
                </a:solidFill>
                <a:cs typeface="Calibri"/>
                <a:sym typeface="Calibri"/>
              </a:rPr>
              <a:t>SAP</a:t>
            </a:r>
            <a:r>
              <a:rPr lang="ja-JP" altLang="es-ES" sz="1600" kern="0" dirty="0">
                <a:solidFill>
                  <a:srgbClr val="000000"/>
                </a:solidFill>
                <a:cs typeface="Calibri"/>
                <a:sym typeface="Calibri"/>
              </a:rPr>
              <a:t>上でのイベントの作成、参加者の申請</a:t>
            </a:r>
            <a:endParaRPr lang="es-ES" altLang="ja-JP" sz="1600" kern="0" dirty="0">
              <a:solidFill>
                <a:srgbClr val="000000"/>
              </a:solidFill>
              <a:cs typeface="Calibri"/>
              <a:sym typeface="Calibri"/>
            </a:endParaRPr>
          </a:p>
          <a:p>
            <a:pPr defTabSz="412750" hangingPunct="0">
              <a:defRPr/>
            </a:pPr>
            <a:endParaRPr lang="es-ES" sz="1600" kern="0" dirty="0">
              <a:solidFill>
                <a:srgbClr val="000000"/>
              </a:solidFill>
              <a:cs typeface="Calibri"/>
              <a:sym typeface="Helvetica Neue"/>
            </a:endParaRPr>
          </a:p>
          <a:p>
            <a:pPr marL="171450" indent="-171450" defTabSz="412750" hangingPunct="0">
              <a:buFont typeface="Arial" panose="020B0604020202020204" pitchFamily="34" charset="0"/>
              <a:buChar char="•"/>
              <a:defRPr/>
            </a:pPr>
            <a:r>
              <a:rPr lang="ja-JP" altLang="es-ES" sz="1600" kern="0" dirty="0">
                <a:solidFill>
                  <a:srgbClr val="000000"/>
                </a:solidFill>
                <a:cs typeface="Calibri"/>
                <a:sym typeface="Helvetica Neue"/>
              </a:rPr>
              <a:t>購買</a:t>
            </a:r>
            <a:r>
              <a:rPr lang="es-ES" altLang="ja-JP" sz="1600" kern="0" dirty="0">
                <a:solidFill>
                  <a:srgbClr val="000000"/>
                </a:solidFill>
                <a:cs typeface="Calibri"/>
                <a:sym typeface="Helvetica Neue"/>
              </a:rPr>
              <a:t>:</a:t>
            </a:r>
          </a:p>
          <a:p>
            <a:pPr defTabSz="412750" hangingPunct="0">
              <a:defRPr/>
            </a:pPr>
            <a:r>
              <a:rPr lang="ja-JP" altLang="es-ES" sz="1600" kern="0" dirty="0">
                <a:solidFill>
                  <a:srgbClr val="000000"/>
                </a:solidFill>
                <a:cs typeface="Calibri"/>
                <a:sym typeface="Helvetica Neue"/>
              </a:rPr>
              <a:t>　－社内アプリケーション上で営業ルートの公募情報管理</a:t>
            </a:r>
            <a:endParaRPr lang="es-ES" sz="1600" kern="0" dirty="0">
              <a:solidFill>
                <a:srgbClr val="000000"/>
              </a:solidFill>
              <a:cs typeface="Calibri"/>
              <a:sym typeface="Helvetica Neue"/>
            </a:endParaRPr>
          </a:p>
          <a:p>
            <a:pPr marL="0" lvl="8" hangingPunct="0">
              <a:defRPr/>
            </a:pPr>
            <a:r>
              <a:rPr lang="es-ES" sz="1600" kern="0" dirty="0">
                <a:solidFill>
                  <a:srgbClr val="000000"/>
                </a:solidFill>
                <a:cs typeface="Calibri"/>
                <a:sym typeface="Calibri"/>
              </a:rPr>
              <a:t>	</a:t>
            </a:r>
            <a:endParaRPr lang="es-ES" sz="1600" kern="0" dirty="0">
              <a:solidFill>
                <a:srgbClr val="000000"/>
              </a:solidFill>
              <a:cs typeface="Calibri"/>
              <a:sym typeface="Helvetica Neue"/>
            </a:endParaRPr>
          </a:p>
        </p:txBody>
      </p:sp>
    </p:spTree>
    <p:extLst>
      <p:ext uri="{BB962C8B-B14F-4D97-AF65-F5344CB8AC3E}">
        <p14:creationId xmlns:p14="http://schemas.microsoft.com/office/powerpoint/2010/main" val="128146579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EV-ASSETS-nodos-2.png" descr="EV-ASSETS-nodos-2.png"/>
          <p:cNvPicPr>
            <a:picLocks noChangeAspect="1"/>
          </p:cNvPicPr>
          <p:nvPr/>
        </p:nvPicPr>
        <p:blipFill>
          <a:blip r:embed="rId2">
            <a:alphaModFix amt="25000"/>
          </a:blip>
          <a:stretch>
            <a:fillRect/>
          </a:stretch>
        </p:blipFill>
        <p:spPr>
          <a:xfrm>
            <a:off x="0" y="2004990"/>
            <a:ext cx="6784665" cy="7871307"/>
          </a:xfrm>
          <a:prstGeom prst="rect">
            <a:avLst/>
          </a:prstGeom>
          <a:ln w="12700">
            <a:miter lim="400000"/>
          </a:ln>
        </p:spPr>
      </p:pic>
      <p:sp>
        <p:nvSpPr>
          <p:cNvPr id="3" name="Título 2"/>
          <p:cNvSpPr>
            <a:spLocks noGrp="1"/>
          </p:cNvSpPr>
          <p:nvPr>
            <p:ph type="title"/>
          </p:nvPr>
        </p:nvSpPr>
        <p:spPr/>
        <p:txBody>
          <a:bodyPr/>
          <a:lstStyle/>
          <a:p>
            <a:r>
              <a:rPr lang="ja-JP" altLang="es-ES" dirty="0"/>
              <a:t>幅広いケーパビリティを培い、柔軟に各社様の個別ニーズに応える体制を実現</a:t>
            </a:r>
            <a:endParaRPr lang="en-US" dirty="0"/>
          </a:p>
        </p:txBody>
      </p:sp>
      <p:sp>
        <p:nvSpPr>
          <p:cNvPr id="4" name="Marcador de texto 3"/>
          <p:cNvSpPr>
            <a:spLocks noGrp="1"/>
          </p:cNvSpPr>
          <p:nvPr>
            <p:ph type="body" sz="quarter" idx="21"/>
          </p:nvPr>
        </p:nvSpPr>
        <p:spPr/>
        <p:txBody>
          <a:bodyPr/>
          <a:lstStyle/>
          <a:p>
            <a:r>
              <a:rPr lang="es-ES" altLang="ja-JP" dirty="0"/>
              <a:t>05. RPA</a:t>
            </a:r>
            <a:r>
              <a:rPr lang="ja-JP" altLang="es-ES" dirty="0"/>
              <a:t>プロジェクトの提供体制</a:t>
            </a:r>
            <a:endParaRPr lang="en-GB" dirty="0"/>
          </a:p>
        </p:txBody>
      </p:sp>
      <p:sp>
        <p:nvSpPr>
          <p:cNvPr id="75" name="Circular 74"/>
          <p:cNvSpPr/>
          <p:nvPr/>
        </p:nvSpPr>
        <p:spPr>
          <a:xfrm>
            <a:off x="1517904" y="5524417"/>
            <a:ext cx="7992670" cy="346234"/>
          </a:xfrm>
          <a:prstGeom prst="pie">
            <a:avLst>
              <a:gd name="adj1" fmla="val 15400889"/>
              <a:gd name="adj2" fmla="val 21563774"/>
            </a:avLst>
          </a:prstGeom>
          <a:gradFill flip="none" rotWithShape="1">
            <a:gsLst>
              <a:gs pos="0">
                <a:srgbClr val="FFFFFF">
                  <a:alpha val="0"/>
                </a:srgbClr>
              </a:gs>
              <a:gs pos="100000">
                <a:srgbClr val="000000">
                  <a:lumMod val="85000"/>
                  <a:lumOff val="15000"/>
                </a:srgbClr>
              </a:gs>
            </a:gsLst>
            <a:lin ang="18900000" scaled="1"/>
            <a:tileRect/>
          </a:gra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algn="ctr" defTabSz="412750" hangingPunct="0">
              <a:defRPr/>
            </a:pPr>
            <a:endParaRPr lang="es-ES" sz="1600" kern="0">
              <a:solidFill>
                <a:srgbClr val="000000"/>
              </a:solidFill>
              <a:ea typeface="Helvetica Neue Medium"/>
              <a:cs typeface="Helvetica Neue Medium"/>
              <a:sym typeface="Helvetica Neue Medium"/>
            </a:endParaRPr>
          </a:p>
        </p:txBody>
      </p:sp>
      <p:sp>
        <p:nvSpPr>
          <p:cNvPr id="76" name="5 Rectángulo redondeado">
            <a:extLst>
              <a:ext uri="{FF2B5EF4-FFF2-40B4-BE49-F238E27FC236}">
                <a16:creationId xmlns:a16="http://schemas.microsoft.com/office/drawing/2014/main" id="{C1344327-33AB-2543-B0FC-70989605D8A4}"/>
              </a:ext>
            </a:extLst>
          </p:cNvPr>
          <p:cNvSpPr/>
          <p:nvPr/>
        </p:nvSpPr>
        <p:spPr>
          <a:xfrm>
            <a:off x="511453" y="5114848"/>
            <a:ext cx="11026066" cy="947623"/>
          </a:xfrm>
          <a:prstGeom prst="roundRect">
            <a:avLst>
              <a:gd name="adj" fmla="val 12613"/>
            </a:avLst>
          </a:prstGeom>
          <a:solidFill>
            <a:sysClr val="window" lastClr="FFFFFF">
              <a:lumMod val="95000"/>
            </a:sysClr>
          </a:solidFill>
          <a:ln w="9525" cap="flat" cmpd="sng" algn="ctr">
            <a:solidFill>
              <a:sysClr val="window" lastClr="FFFFFF">
                <a:lumMod val="95000"/>
              </a:sysClr>
            </a:solidFill>
            <a:prstDash val="solid"/>
            <a:miter lim="800000"/>
          </a:ln>
          <a:effectLst/>
        </p:spPr>
        <p:txBody>
          <a:bodyPr lIns="40100" rIns="401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80808"/>
              </a:solidFill>
              <a:effectLst/>
              <a:uLnTx/>
              <a:uFillTx/>
            </a:endParaRPr>
          </a:p>
        </p:txBody>
      </p:sp>
      <p:sp>
        <p:nvSpPr>
          <p:cNvPr id="77" name="Rectangle 56">
            <a:extLst>
              <a:ext uri="{FF2B5EF4-FFF2-40B4-BE49-F238E27FC236}">
                <a16:creationId xmlns:a16="http://schemas.microsoft.com/office/drawing/2014/main" id="{30EBFD4B-5284-CB49-9F6D-190F577ABDD5}"/>
              </a:ext>
            </a:extLst>
          </p:cNvPr>
          <p:cNvSpPr/>
          <p:nvPr/>
        </p:nvSpPr>
        <p:spPr>
          <a:xfrm>
            <a:off x="511452" y="4758802"/>
            <a:ext cx="11026067" cy="318685"/>
          </a:xfrm>
          <a:prstGeom prst="roundRect">
            <a:avLst/>
          </a:prstGeom>
          <a:solidFill>
            <a:srgbClr val="002060"/>
          </a:solidFill>
          <a:effectLst/>
        </p:spPr>
        <p:txBody>
          <a:bodyPr wrap="square" lIns="0" tIns="0" rIns="0" bIns="0" anchor="ctr">
            <a:noAutofit/>
          </a:bodyPr>
          <a:lstStyle/>
          <a:p>
            <a:pPr algn="ctr" defTabSz="1018250"/>
            <a:r>
              <a:rPr lang="ja-JP" altLang="es-ES" sz="1200" b="1" kern="0" dirty="0">
                <a:solidFill>
                  <a:srgbClr val="FFFFFF"/>
                </a:solidFill>
                <a:ea typeface="Microsoft Himalaya" pitchFamily="2" charset="0"/>
                <a:cs typeface="Arial" panose="020B0604020202020204" pitchFamily="34" charset="0"/>
                <a:sym typeface="Arial" panose="020B0604020202020204" pitchFamily="34" charset="0"/>
              </a:rPr>
              <a:t>テクノロジー・アライアンス</a:t>
            </a:r>
            <a:endParaRPr lang="en-US" sz="1200" b="1" kern="0" dirty="0">
              <a:solidFill>
                <a:srgbClr val="FFFFFF"/>
              </a:solidFill>
              <a:ea typeface="Microsoft Himalaya" pitchFamily="2" charset="0"/>
              <a:cs typeface="Arial" panose="020B0604020202020204" pitchFamily="34" charset="0"/>
              <a:sym typeface="Arial" panose="020B0604020202020204" pitchFamily="34" charset="0"/>
            </a:endParaRPr>
          </a:p>
        </p:txBody>
      </p:sp>
      <p:sp>
        <p:nvSpPr>
          <p:cNvPr id="78" name="Rectangle 54">
            <a:extLst>
              <a:ext uri="{FF2B5EF4-FFF2-40B4-BE49-F238E27FC236}">
                <a16:creationId xmlns:a16="http://schemas.microsoft.com/office/drawing/2014/main" id="{F3235873-67BC-2946-9E1C-5F179C694920}"/>
              </a:ext>
            </a:extLst>
          </p:cNvPr>
          <p:cNvSpPr/>
          <p:nvPr/>
        </p:nvSpPr>
        <p:spPr>
          <a:xfrm>
            <a:off x="4295165" y="1630010"/>
            <a:ext cx="3634738" cy="552544"/>
          </a:xfrm>
          <a:prstGeom prst="roundRect">
            <a:avLst>
              <a:gd name="adj" fmla="val 9210"/>
            </a:avLst>
          </a:prstGeom>
          <a:solidFill>
            <a:srgbClr val="002060"/>
          </a:solidFill>
          <a:effectLst/>
        </p:spPr>
        <p:txBody>
          <a:bodyPr wrap="square" lIns="0" tIns="0" rIns="0" bIns="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8250">
              <a:defRPr/>
            </a:pPr>
            <a:r>
              <a:rPr lang="en-US" sz="1200" b="1" kern="0" dirty="0">
                <a:solidFill>
                  <a:srgbClr val="FFFFFF"/>
                </a:solidFill>
                <a:ea typeface="Microsoft Himalaya" pitchFamily="2" charset="0"/>
                <a:cs typeface="Arial" panose="020B0604020202020204" pitchFamily="34" charset="0"/>
                <a:sym typeface="Arial" panose="020B0604020202020204" pitchFamily="34" charset="0"/>
              </a:rPr>
              <a:t>RPA</a:t>
            </a:r>
            <a:r>
              <a:rPr lang="ja-JP" altLang="es-ES" sz="1200" b="1" kern="0" dirty="0">
                <a:solidFill>
                  <a:srgbClr val="FFFFFF"/>
                </a:solidFill>
                <a:ea typeface="Microsoft Himalaya" pitchFamily="2" charset="0"/>
                <a:cs typeface="Arial" panose="020B0604020202020204" pitchFamily="34" charset="0"/>
                <a:sym typeface="Arial" panose="020B0604020202020204" pitchFamily="34" charset="0"/>
              </a:rPr>
              <a:t>ラボ</a:t>
            </a:r>
            <a:endParaRPr lang="en-US" sz="1200" b="1" kern="0" dirty="0">
              <a:solidFill>
                <a:srgbClr val="FFFFFF"/>
              </a:solidFill>
              <a:ea typeface="Microsoft Himalaya" pitchFamily="2" charset="0"/>
              <a:cs typeface="Arial" panose="020B0604020202020204" pitchFamily="34" charset="0"/>
              <a:sym typeface="Arial" panose="020B0604020202020204" pitchFamily="34" charset="0"/>
            </a:endParaRPr>
          </a:p>
        </p:txBody>
      </p:sp>
      <p:sp>
        <p:nvSpPr>
          <p:cNvPr id="79" name="11 Rectángulo">
            <a:extLst>
              <a:ext uri="{FF2B5EF4-FFF2-40B4-BE49-F238E27FC236}">
                <a16:creationId xmlns:a16="http://schemas.microsoft.com/office/drawing/2014/main" id="{AB0D9D68-0775-4543-BD3C-605F019244E9}"/>
              </a:ext>
            </a:extLst>
          </p:cNvPr>
          <p:cNvSpPr/>
          <p:nvPr/>
        </p:nvSpPr>
        <p:spPr>
          <a:xfrm>
            <a:off x="4295162" y="2210935"/>
            <a:ext cx="3634737" cy="2252855"/>
          </a:xfrm>
          <a:prstGeom prst="roundRect">
            <a:avLst>
              <a:gd name="adj" fmla="val 10946"/>
            </a:avLst>
          </a:prstGeom>
          <a:solidFill>
            <a:sysClr val="window" lastClr="FFFFFF">
              <a:lumMod val="95000"/>
            </a:sysClr>
          </a:solidFill>
          <a:ln w="12700" cap="flat" cmpd="sng" algn="ctr">
            <a:noFill/>
            <a:prstDash val="solid"/>
            <a:miter lim="800000"/>
          </a:ln>
          <a:effectLst/>
        </p:spPr>
        <p:txBody>
          <a:bodyPr lIns="0" tIns="0" rIns="0" bIns="0" rtlCol="0" anchor="ctr"/>
          <a:lstStyle/>
          <a:p>
            <a:pPr marL="171450" marR="0" lvl="0" indent="-171450" defTabSz="91440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kumimoji="0" lang="ja-JP" altLang="es-ES" sz="1200" i="0" u="none" strike="noStrike" kern="0" cap="none" spc="0" normalizeH="0" baseline="0" noProof="0" dirty="0">
                <a:ln>
                  <a:noFill/>
                </a:ln>
                <a:solidFill>
                  <a:srgbClr val="404040"/>
                </a:solidFill>
                <a:effectLst/>
                <a:uLnTx/>
                <a:uFillTx/>
                <a:sym typeface="Arial" panose="020B0604020202020204" pitchFamily="34" charset="0"/>
              </a:rPr>
              <a:t>候補プロセスの</a:t>
            </a:r>
            <a:r>
              <a:rPr kumimoji="0" lang="ja-JP" altLang="es-ES" sz="1200" b="1" i="0" u="none" strike="noStrike" kern="0" cap="none" spc="0" normalizeH="0" baseline="0" noProof="0" dirty="0">
                <a:ln>
                  <a:noFill/>
                </a:ln>
                <a:solidFill>
                  <a:srgbClr val="404040"/>
                </a:solidFill>
                <a:effectLst/>
                <a:uLnTx/>
                <a:uFillTx/>
                <a:sym typeface="Arial" panose="020B0604020202020204" pitchFamily="34" charset="0"/>
              </a:rPr>
              <a:t>アセスメントツール</a:t>
            </a:r>
            <a:r>
              <a:rPr kumimoji="0" lang="ja-JP" altLang="es-ES" sz="1200" i="0" u="none" strike="noStrike" kern="0" cap="none" spc="0" normalizeH="0" baseline="0" noProof="0" dirty="0">
                <a:ln>
                  <a:noFill/>
                </a:ln>
                <a:solidFill>
                  <a:srgbClr val="404040"/>
                </a:solidFill>
                <a:effectLst/>
                <a:uLnTx/>
                <a:uFillTx/>
                <a:sym typeface="Arial" panose="020B0604020202020204" pitchFamily="34" charset="0"/>
              </a:rPr>
              <a:t>作成・管理</a:t>
            </a:r>
            <a:endParaRPr kumimoji="0" lang="es-ES" altLang="ja-JP" sz="1200" i="0" u="none" strike="noStrike" kern="0" cap="none" spc="0" normalizeH="0" baseline="0" noProof="0" dirty="0">
              <a:ln>
                <a:noFill/>
              </a:ln>
              <a:solidFill>
                <a:srgbClr val="404040"/>
              </a:solidFill>
              <a:effectLst/>
              <a:uLnTx/>
              <a:uFillTx/>
              <a:sym typeface="Arial" panose="020B0604020202020204" pitchFamily="34" charset="0"/>
            </a:endParaRPr>
          </a:p>
          <a:p>
            <a:pPr marL="171450" marR="0" lvl="0" indent="-171450" defTabSz="91440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lang="es-ES" altLang="ja-JP" sz="1200" kern="0" dirty="0" err="1">
                <a:solidFill>
                  <a:srgbClr val="404040"/>
                </a:solidFill>
                <a:sym typeface="Arial" panose="020B0604020202020204" pitchFamily="34" charset="0"/>
              </a:rPr>
              <a:t>PoC</a:t>
            </a:r>
            <a:r>
              <a:rPr lang="es-ES" altLang="ja-JP" sz="1200" kern="0" dirty="0">
                <a:solidFill>
                  <a:srgbClr val="404040"/>
                </a:solidFill>
                <a:sym typeface="Arial" panose="020B0604020202020204" pitchFamily="34" charset="0"/>
              </a:rPr>
              <a:t> </a:t>
            </a:r>
            <a:r>
              <a:rPr lang="ja-JP" altLang="es-ES" sz="1200" kern="0" dirty="0">
                <a:solidFill>
                  <a:srgbClr val="404040"/>
                </a:solidFill>
                <a:sym typeface="Arial" panose="020B0604020202020204" pitchFamily="34" charset="0"/>
              </a:rPr>
              <a:t>（検証）実施、デモ環境の構築</a:t>
            </a:r>
            <a:endParaRPr lang="es-ES" altLang="ja-JP" sz="1200" kern="0" dirty="0">
              <a:solidFill>
                <a:srgbClr val="404040"/>
              </a:solidFill>
              <a:sym typeface="Arial" panose="020B0604020202020204" pitchFamily="34" charset="0"/>
            </a:endParaRPr>
          </a:p>
          <a:p>
            <a:pPr marL="171450" marR="0" lvl="0" indent="-171450" defTabSz="91440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lang="ja-JP" altLang="es-ES" sz="1200" b="1" kern="0" dirty="0">
                <a:solidFill>
                  <a:srgbClr val="404040"/>
                </a:solidFill>
                <a:sym typeface="Arial" panose="020B0604020202020204" pitchFamily="34" charset="0"/>
              </a:rPr>
              <a:t>補完</a:t>
            </a:r>
            <a:r>
              <a:rPr kumimoji="0" lang="ja-JP" altLang="es-ES" sz="1200" b="1" i="0" u="none" strike="noStrike" kern="0" cap="none" spc="0" normalizeH="0" baseline="0" noProof="0" dirty="0">
                <a:ln>
                  <a:noFill/>
                </a:ln>
                <a:solidFill>
                  <a:srgbClr val="404040"/>
                </a:solidFill>
                <a:effectLst/>
                <a:uLnTx/>
                <a:uFillTx/>
                <a:sym typeface="Arial" panose="020B0604020202020204" pitchFamily="34" charset="0"/>
              </a:rPr>
              <a:t>的な新たな技術やツールのマーケット動向</a:t>
            </a:r>
            <a:r>
              <a:rPr kumimoji="0" lang="ja-JP" altLang="es-ES" sz="1200" i="0" u="none" strike="noStrike" kern="0" cap="none" spc="0" normalizeH="0" baseline="0" noProof="0" dirty="0">
                <a:ln>
                  <a:noFill/>
                </a:ln>
                <a:solidFill>
                  <a:srgbClr val="404040"/>
                </a:solidFill>
                <a:effectLst/>
                <a:uLnTx/>
                <a:uFillTx/>
                <a:sym typeface="Arial" panose="020B0604020202020204" pitchFamily="34" charset="0"/>
              </a:rPr>
              <a:t>調査・評価・フォロー</a:t>
            </a:r>
            <a:endParaRPr kumimoji="0" lang="es-ES" altLang="ja-JP" sz="1200" i="0" u="none" strike="noStrike" kern="0" cap="none" spc="0" normalizeH="0" baseline="0" noProof="0" dirty="0">
              <a:ln>
                <a:noFill/>
              </a:ln>
              <a:solidFill>
                <a:srgbClr val="404040"/>
              </a:solidFill>
              <a:effectLst/>
              <a:uLnTx/>
              <a:uFillTx/>
              <a:sym typeface="Arial" panose="020B0604020202020204" pitchFamily="34" charset="0"/>
            </a:endParaRPr>
          </a:p>
          <a:p>
            <a:pPr marL="171450" lvl="0" indent="-171450">
              <a:lnSpc>
                <a:spcPct val="150000"/>
              </a:lnSpc>
              <a:spcBef>
                <a:spcPts val="200"/>
              </a:spcBef>
              <a:spcAft>
                <a:spcPts val="200"/>
              </a:spcAft>
              <a:buClr>
                <a:srgbClr val="0044A1"/>
              </a:buClr>
              <a:buFont typeface="Wingdings" panose="05000000000000000000" pitchFamily="2" charset="2"/>
              <a:buChar char="§"/>
              <a:defRPr/>
            </a:pPr>
            <a:r>
              <a:rPr lang="es-ES" altLang="ja-JP" sz="1200" kern="0" dirty="0">
                <a:solidFill>
                  <a:srgbClr val="404040"/>
                </a:solidFill>
                <a:sym typeface="Arial" panose="020B0604020202020204" pitchFamily="34" charset="0"/>
              </a:rPr>
              <a:t>RPA &amp; AI </a:t>
            </a:r>
            <a:r>
              <a:rPr lang="ja-JP" altLang="es-ES" sz="1200" kern="0" dirty="0">
                <a:solidFill>
                  <a:srgbClr val="404040"/>
                </a:solidFill>
                <a:sym typeface="Arial" panose="020B0604020202020204" pitchFamily="34" charset="0"/>
              </a:rPr>
              <a:t>を用いた新たな技術のテスト</a:t>
            </a:r>
          </a:p>
        </p:txBody>
      </p:sp>
      <p:sp>
        <p:nvSpPr>
          <p:cNvPr id="80" name="28 Rectángulo">
            <a:extLst>
              <a:ext uri="{FF2B5EF4-FFF2-40B4-BE49-F238E27FC236}">
                <a16:creationId xmlns:a16="http://schemas.microsoft.com/office/drawing/2014/main" id="{64B1DBB1-6DC0-4148-AB72-E113F12DFA50}"/>
              </a:ext>
            </a:extLst>
          </p:cNvPr>
          <p:cNvSpPr/>
          <p:nvPr/>
        </p:nvSpPr>
        <p:spPr>
          <a:xfrm>
            <a:off x="765865" y="5350202"/>
            <a:ext cx="10404697" cy="377435"/>
          </a:xfrm>
          <a:prstGeom prst="rect">
            <a:avLst/>
          </a:prstGeom>
          <a:noFill/>
          <a:ln w="12700" cap="flat" cmpd="sng" algn="ctr">
            <a:noFill/>
            <a:prstDash val="solid"/>
            <a:miter lim="800000"/>
          </a:ln>
          <a:effectLst/>
        </p:spPr>
        <p:txBody>
          <a:bodyPr lIns="0" tIns="0" rIns="0" bIns="0" rtlCol="0" anchor="t"/>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200"/>
              </a:spcBef>
              <a:spcAft>
                <a:spcPts val="200"/>
              </a:spcAft>
              <a:buClr>
                <a:srgbClr val="0044A1"/>
              </a:buClr>
              <a:buSzTx/>
              <a:tabLst/>
              <a:defRPr/>
            </a:pPr>
            <a:r>
              <a:rPr kumimoji="0" lang="ja-JP" altLang="es-ES" sz="1400" i="0" u="none" strike="noStrike" kern="1200" cap="none" spc="0" normalizeH="0" baseline="0" noProof="0" dirty="0">
                <a:ln>
                  <a:noFill/>
                </a:ln>
                <a:solidFill>
                  <a:srgbClr val="404040"/>
                </a:solidFill>
                <a:effectLst/>
                <a:uLnTx/>
                <a:uFillTx/>
                <a:sym typeface="Arial" panose="020B0604020202020204" pitchFamily="34" charset="0"/>
              </a:rPr>
              <a:t>対応ツール：</a:t>
            </a:r>
            <a:r>
              <a:rPr kumimoji="0" lang="en-US" sz="1400" i="0" u="none" strike="noStrike" kern="1200" cap="none" spc="0" normalizeH="0" baseline="0" noProof="0" dirty="0">
                <a:ln>
                  <a:noFill/>
                </a:ln>
                <a:solidFill>
                  <a:srgbClr val="404040"/>
                </a:solidFill>
                <a:effectLst/>
                <a:uLnTx/>
                <a:uFillTx/>
                <a:sym typeface="Arial" panose="020B0604020202020204" pitchFamily="34" charset="0"/>
              </a:rPr>
              <a:t>WinActor</a:t>
            </a:r>
            <a:r>
              <a:rPr lang="ja-JP" altLang="es-ES" sz="1400" dirty="0">
                <a:solidFill>
                  <a:srgbClr val="404040"/>
                </a:solidFill>
                <a:sym typeface="Arial" panose="020B0604020202020204" pitchFamily="34" charset="0"/>
              </a:rPr>
              <a:t>、</a:t>
            </a:r>
            <a:r>
              <a:rPr kumimoji="0" lang="en-US" sz="1400" i="0" u="none" strike="noStrike" kern="1200" cap="none" spc="0" normalizeH="0" baseline="0" noProof="0" dirty="0">
                <a:ln>
                  <a:noFill/>
                </a:ln>
                <a:solidFill>
                  <a:srgbClr val="404040"/>
                </a:solidFill>
                <a:effectLst/>
                <a:uLnTx/>
                <a:uFillTx/>
                <a:sym typeface="Arial" panose="020B0604020202020204" pitchFamily="34" charset="0"/>
              </a:rPr>
              <a:t> </a:t>
            </a:r>
            <a:r>
              <a:rPr kumimoji="0" lang="en-US" sz="1400" i="0" u="none" strike="noStrike" kern="1200" cap="none" spc="0" normalizeH="0" baseline="0" noProof="0" dirty="0" err="1">
                <a:ln>
                  <a:noFill/>
                </a:ln>
                <a:solidFill>
                  <a:srgbClr val="404040"/>
                </a:solidFill>
                <a:effectLst/>
                <a:uLnTx/>
                <a:uFillTx/>
                <a:sym typeface="Arial" panose="020B0604020202020204" pitchFamily="34" charset="0"/>
              </a:rPr>
              <a:t>UiPath</a:t>
            </a:r>
            <a:r>
              <a:rPr lang="ja-JP" altLang="es-ES" sz="1400" dirty="0">
                <a:solidFill>
                  <a:srgbClr val="404040"/>
                </a:solidFill>
                <a:sym typeface="Arial" panose="020B0604020202020204" pitchFamily="34" charset="0"/>
              </a:rPr>
              <a:t>、</a:t>
            </a:r>
            <a:r>
              <a:rPr kumimoji="0" lang="en-US" sz="1400" i="0" u="none" strike="noStrike" kern="1200" cap="none" spc="0" normalizeH="0" baseline="0" noProof="0" dirty="0">
                <a:ln>
                  <a:noFill/>
                </a:ln>
                <a:solidFill>
                  <a:srgbClr val="404040"/>
                </a:solidFill>
                <a:effectLst/>
                <a:uLnTx/>
                <a:uFillTx/>
                <a:sym typeface="Arial" panose="020B0604020202020204" pitchFamily="34" charset="0"/>
              </a:rPr>
              <a:t> </a:t>
            </a:r>
            <a:r>
              <a:rPr kumimoji="0" lang="en-US" sz="1400" i="0" u="none" strike="noStrike" kern="1200" cap="none" spc="0" normalizeH="0" baseline="0" noProof="0" dirty="0" err="1">
                <a:ln>
                  <a:noFill/>
                </a:ln>
                <a:solidFill>
                  <a:srgbClr val="404040"/>
                </a:solidFill>
                <a:effectLst/>
                <a:uLnTx/>
                <a:uFillTx/>
                <a:sym typeface="Arial" panose="020B0604020202020204" pitchFamily="34" charset="0"/>
              </a:rPr>
              <a:t>Blueprism</a:t>
            </a:r>
            <a:r>
              <a:rPr lang="ja-JP" altLang="es-ES" sz="1400" dirty="0">
                <a:solidFill>
                  <a:srgbClr val="404040"/>
                </a:solidFill>
                <a:sym typeface="Arial" panose="020B0604020202020204" pitchFamily="34" charset="0"/>
              </a:rPr>
              <a:t>、</a:t>
            </a:r>
            <a:r>
              <a:rPr kumimoji="0" lang="en-US" sz="1400" i="0" u="none" strike="noStrike" kern="1200" cap="none" spc="0" normalizeH="0" baseline="0" noProof="0" dirty="0">
                <a:ln>
                  <a:noFill/>
                </a:ln>
                <a:solidFill>
                  <a:srgbClr val="404040"/>
                </a:solidFill>
                <a:effectLst/>
                <a:uLnTx/>
                <a:uFillTx/>
                <a:sym typeface="Arial" panose="020B0604020202020204" pitchFamily="34" charset="0"/>
              </a:rPr>
              <a:t> Automation Anywhere</a:t>
            </a:r>
            <a:r>
              <a:rPr kumimoji="0" lang="ja-JP" altLang="es-ES" sz="1400" i="0" u="none" strike="noStrike" kern="1200" cap="none" spc="0" normalizeH="0" baseline="0" noProof="0" dirty="0">
                <a:ln>
                  <a:noFill/>
                </a:ln>
                <a:solidFill>
                  <a:srgbClr val="404040"/>
                </a:solidFill>
                <a:effectLst/>
                <a:uLnTx/>
                <a:uFillTx/>
                <a:sym typeface="Arial" panose="020B0604020202020204" pitchFamily="34" charset="0"/>
              </a:rPr>
              <a:t>、</a:t>
            </a:r>
            <a:r>
              <a:rPr kumimoji="0" lang="en-US" sz="1400" i="0" u="none" strike="noStrike" kern="1200" cap="none" spc="0" normalizeH="0" baseline="0" noProof="0" dirty="0">
                <a:ln>
                  <a:noFill/>
                </a:ln>
                <a:solidFill>
                  <a:srgbClr val="404040"/>
                </a:solidFill>
                <a:effectLst/>
                <a:uLnTx/>
                <a:uFillTx/>
                <a:sym typeface="Arial" panose="020B0604020202020204" pitchFamily="34" charset="0"/>
              </a:rPr>
              <a:t>Microsoft Power Automate</a:t>
            </a:r>
            <a:r>
              <a:rPr lang="ja-JP" altLang="es-ES" sz="1400" dirty="0">
                <a:solidFill>
                  <a:srgbClr val="404040"/>
                </a:solidFill>
                <a:sym typeface="Arial" panose="020B0604020202020204" pitchFamily="34" charset="0"/>
              </a:rPr>
              <a:t>等</a:t>
            </a:r>
            <a:endParaRPr kumimoji="0" lang="en-US" sz="1400" i="0" u="none" strike="noStrike" kern="1200" cap="none" spc="0" normalizeH="0" baseline="0" noProof="0" dirty="0">
              <a:ln>
                <a:noFill/>
              </a:ln>
              <a:solidFill>
                <a:srgbClr val="404040"/>
              </a:solidFill>
              <a:effectLst/>
              <a:uLnTx/>
              <a:uFillTx/>
              <a:sym typeface="Arial" panose="020B0604020202020204" pitchFamily="34" charset="0"/>
            </a:endParaRPr>
          </a:p>
          <a:p>
            <a:pPr marR="0" lvl="0" algn="l" defTabSz="914400" rtl="0" eaLnBrk="1" fontAlgn="auto" latinLnBrk="0" hangingPunct="1">
              <a:lnSpc>
                <a:spcPct val="100000"/>
              </a:lnSpc>
              <a:spcBef>
                <a:spcPts val="200"/>
              </a:spcBef>
              <a:spcAft>
                <a:spcPts val="200"/>
              </a:spcAft>
              <a:buClr>
                <a:srgbClr val="0044A1"/>
              </a:buClr>
              <a:buSzTx/>
              <a:tabLst/>
              <a:defRPr/>
            </a:pPr>
            <a:r>
              <a:rPr kumimoji="0" lang="ja-JP" altLang="es-ES" sz="1400" i="0" u="none" strike="noStrike" kern="1200" cap="none" spc="0" normalizeH="0" baseline="0" noProof="0" dirty="0">
                <a:ln>
                  <a:noFill/>
                </a:ln>
                <a:solidFill>
                  <a:srgbClr val="404040"/>
                </a:solidFill>
                <a:effectLst/>
                <a:uLnTx/>
                <a:uFillTx/>
                <a:sym typeface="Arial" panose="020B0604020202020204" pitchFamily="34" charset="0"/>
              </a:rPr>
              <a:t>人財：各アライアンスツールにおいて技術者やアナリストをトレーニング</a:t>
            </a:r>
            <a:endParaRPr kumimoji="0" lang="en-US" sz="1400" i="0" u="none" strike="noStrike" kern="1200" cap="none" spc="0" normalizeH="0" baseline="0" noProof="0" dirty="0">
              <a:ln>
                <a:noFill/>
              </a:ln>
              <a:solidFill>
                <a:srgbClr val="404040"/>
              </a:solidFill>
              <a:effectLst/>
              <a:uLnTx/>
              <a:uFillTx/>
              <a:sym typeface="Arial" panose="020B0604020202020204" pitchFamily="34" charset="0"/>
            </a:endParaRPr>
          </a:p>
        </p:txBody>
      </p:sp>
      <p:sp>
        <p:nvSpPr>
          <p:cNvPr id="81" name="Rectangle 54">
            <a:extLst>
              <a:ext uri="{FF2B5EF4-FFF2-40B4-BE49-F238E27FC236}">
                <a16:creationId xmlns:a16="http://schemas.microsoft.com/office/drawing/2014/main" id="{8AE7C7D4-573C-494A-A679-7A1B70B0D5FE}"/>
              </a:ext>
            </a:extLst>
          </p:cNvPr>
          <p:cNvSpPr/>
          <p:nvPr/>
        </p:nvSpPr>
        <p:spPr>
          <a:xfrm>
            <a:off x="511452" y="1630009"/>
            <a:ext cx="3705316" cy="539792"/>
          </a:xfrm>
          <a:prstGeom prst="roundRect">
            <a:avLst>
              <a:gd name="adj" fmla="val 12521"/>
            </a:avLst>
          </a:prstGeom>
          <a:solidFill>
            <a:srgbClr val="002060"/>
          </a:solidFill>
          <a:effectLst/>
        </p:spPr>
        <p:txBody>
          <a:bodyPr wrap="square" lIns="0" tIns="0" rIns="0" bIns="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8250">
              <a:defRPr/>
            </a:pPr>
            <a:r>
              <a:rPr lang="en-US" sz="1200" b="1" kern="0" dirty="0">
                <a:solidFill>
                  <a:srgbClr val="FFFFFF"/>
                </a:solidFill>
                <a:ea typeface="Microsoft Himalaya" pitchFamily="2" charset="0"/>
                <a:cs typeface="Arial" panose="020B0604020202020204" pitchFamily="34" charset="0"/>
                <a:sym typeface="Arial" panose="020B0604020202020204" pitchFamily="34" charset="0"/>
              </a:rPr>
              <a:t> RPA Centre of Excellence</a:t>
            </a:r>
            <a:r>
              <a:rPr lang="es-ES" sz="1200" b="1" kern="0" dirty="0">
                <a:solidFill>
                  <a:srgbClr val="FFFFFF"/>
                </a:solidFill>
                <a:ea typeface="Microsoft Himalaya" pitchFamily="2" charset="0"/>
                <a:cs typeface="Arial" panose="020B0604020202020204" pitchFamily="34" charset="0"/>
                <a:sym typeface="Arial" panose="020B0604020202020204" pitchFamily="34" charset="0"/>
              </a:rPr>
              <a:t> (CoE*)</a:t>
            </a:r>
          </a:p>
          <a:p>
            <a:pPr algn="ctr" defTabSz="1018250">
              <a:defRPr/>
            </a:pPr>
            <a:r>
              <a:rPr lang="es-ES" sz="1100" b="1" kern="0" dirty="0">
                <a:solidFill>
                  <a:srgbClr val="FFFFFF"/>
                </a:solidFill>
                <a:ea typeface="Microsoft Himalaya" pitchFamily="2" charset="0"/>
                <a:cs typeface="Arial" panose="020B0604020202020204" pitchFamily="34" charset="0"/>
                <a:sym typeface="Arial" panose="020B0604020202020204" pitchFamily="34" charset="0"/>
              </a:rPr>
              <a:t>*</a:t>
            </a:r>
            <a:r>
              <a:rPr lang="ja-JP" altLang="es-ES" sz="1100" kern="0" dirty="0">
                <a:solidFill>
                  <a:srgbClr val="FFFFFF"/>
                </a:solidFill>
                <a:ea typeface="Microsoft Himalaya" pitchFamily="2" charset="0"/>
                <a:cs typeface="Arial" panose="020B0604020202020204" pitchFamily="34" charset="0"/>
                <a:sym typeface="Arial" panose="020B0604020202020204" pitchFamily="34" charset="0"/>
              </a:rPr>
              <a:t>グループ内でノウハウ・人財を集約した専門ユニット</a:t>
            </a:r>
            <a:endParaRPr lang="en-US" sz="1100" kern="0" dirty="0">
              <a:solidFill>
                <a:srgbClr val="FFFFFF"/>
              </a:solidFill>
              <a:ea typeface="Microsoft Himalaya" pitchFamily="2" charset="0"/>
              <a:cs typeface="Arial" panose="020B0604020202020204" pitchFamily="34" charset="0"/>
              <a:sym typeface="Arial" panose="020B0604020202020204" pitchFamily="34" charset="0"/>
            </a:endParaRPr>
          </a:p>
        </p:txBody>
      </p:sp>
      <p:sp>
        <p:nvSpPr>
          <p:cNvPr id="82" name="20 Rectángulo">
            <a:extLst>
              <a:ext uri="{FF2B5EF4-FFF2-40B4-BE49-F238E27FC236}">
                <a16:creationId xmlns:a16="http://schemas.microsoft.com/office/drawing/2014/main" id="{776F01E6-B4A1-2C47-AE57-BC87A2686185}"/>
              </a:ext>
            </a:extLst>
          </p:cNvPr>
          <p:cNvSpPr/>
          <p:nvPr/>
        </p:nvSpPr>
        <p:spPr>
          <a:xfrm>
            <a:off x="511452" y="2206008"/>
            <a:ext cx="3705316" cy="2252855"/>
          </a:xfrm>
          <a:prstGeom prst="roundRect">
            <a:avLst>
              <a:gd name="adj" fmla="val 8908"/>
            </a:avLst>
          </a:prstGeom>
          <a:solidFill>
            <a:sysClr val="window" lastClr="FFFFFF">
              <a:lumMod val="95000"/>
            </a:sysClr>
          </a:solidFill>
          <a:ln w="12700" cap="flat" cmpd="sng" algn="ctr">
            <a:noFill/>
            <a:prstDash val="solid"/>
            <a:miter lim="800000"/>
          </a:ln>
          <a:effectLst/>
        </p:spPr>
        <p:txBody>
          <a:bodyPr lIns="0" tIns="0" rIns="0" bIns="0"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kumimoji="0" lang="es-ES" altLang="ja-JP" sz="1200" i="0" u="none" strike="noStrike" kern="1200" cap="none" spc="0" normalizeH="0" baseline="0" noProof="0" dirty="0">
                <a:ln>
                  <a:noFill/>
                </a:ln>
                <a:solidFill>
                  <a:srgbClr val="404040"/>
                </a:solidFill>
                <a:effectLst/>
                <a:uLnTx/>
                <a:uFillTx/>
                <a:sym typeface="Arial" panose="020B0604020202020204" pitchFamily="34" charset="0"/>
              </a:rPr>
              <a:t>RPA</a:t>
            </a:r>
            <a:r>
              <a:rPr kumimoji="0" lang="ja-JP" altLang="es-ES" sz="1200" i="0" u="none" strike="noStrike" kern="1200" cap="none" spc="0" normalizeH="0" baseline="0" noProof="0" dirty="0">
                <a:ln>
                  <a:noFill/>
                </a:ln>
                <a:solidFill>
                  <a:srgbClr val="404040"/>
                </a:solidFill>
                <a:effectLst/>
                <a:uLnTx/>
                <a:uFillTx/>
                <a:sym typeface="Arial" panose="020B0604020202020204" pitchFamily="34" charset="0"/>
              </a:rPr>
              <a:t>および</a:t>
            </a:r>
            <a:r>
              <a:rPr kumimoji="0" lang="es-ES" altLang="ja-JP" sz="1200" i="0" u="none" strike="noStrike" kern="1200" cap="none" spc="0" normalizeH="0" baseline="0" noProof="0" dirty="0">
                <a:ln>
                  <a:noFill/>
                </a:ln>
                <a:solidFill>
                  <a:srgbClr val="404040"/>
                </a:solidFill>
                <a:effectLst/>
                <a:uLnTx/>
                <a:uFillTx/>
                <a:sym typeface="Arial" panose="020B0604020202020204" pitchFamily="34" charset="0"/>
              </a:rPr>
              <a:t>AI (Artificial Intelligence)</a:t>
            </a:r>
            <a:r>
              <a:rPr lang="ja-JP" altLang="es-ES" sz="1200" dirty="0">
                <a:solidFill>
                  <a:srgbClr val="404040"/>
                </a:solidFill>
                <a:sym typeface="Arial" panose="020B0604020202020204" pitchFamily="34" charset="0"/>
              </a:rPr>
              <a:t>の</a:t>
            </a:r>
            <a:endParaRPr lang="es-ES" altLang="ja-JP" sz="1200" dirty="0">
              <a:solidFill>
                <a:srgbClr val="404040"/>
              </a:solidFill>
              <a:sym typeface="Arial" panose="020B0604020202020204" pitchFamily="34" charset="0"/>
            </a:endParaRPr>
          </a:p>
          <a:p>
            <a:pPr marR="0" lvl="0" algn="l" defTabSz="914400" rtl="0" eaLnBrk="1" fontAlgn="auto" latinLnBrk="0" hangingPunct="1">
              <a:lnSpc>
                <a:spcPct val="150000"/>
              </a:lnSpc>
              <a:spcBef>
                <a:spcPts val="200"/>
              </a:spcBef>
              <a:spcAft>
                <a:spcPts val="200"/>
              </a:spcAft>
              <a:buClr>
                <a:srgbClr val="0044A1"/>
              </a:buClr>
              <a:buSzTx/>
              <a:tabLst/>
              <a:defRPr/>
            </a:pPr>
            <a:r>
              <a:rPr lang="ja-JP" altLang="es-ES" sz="1200" dirty="0">
                <a:solidFill>
                  <a:srgbClr val="404040"/>
                </a:solidFill>
                <a:sym typeface="Arial" panose="020B0604020202020204" pitchFamily="34" charset="0"/>
              </a:rPr>
              <a:t>　トレーニングを受けた資格保有者</a:t>
            </a:r>
            <a:endParaRPr lang="es-ES" altLang="ja-JP" sz="1200" dirty="0">
              <a:solidFill>
                <a:srgbClr val="404040"/>
              </a:solidFill>
              <a:sym typeface="Arial" panose="020B0604020202020204" pitchFamily="34" charset="0"/>
            </a:endParaRPr>
          </a:p>
          <a:p>
            <a:pPr marL="171450" marR="0" lvl="0" indent="-171450" algn="l" defTabSz="914400" rtl="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kumimoji="0" lang="es-ES" altLang="ja-JP" sz="1200" i="0" u="none" strike="noStrike" kern="1200" cap="none" spc="0" normalizeH="0" baseline="0" noProof="0" dirty="0">
                <a:ln>
                  <a:noFill/>
                </a:ln>
                <a:solidFill>
                  <a:srgbClr val="404040"/>
                </a:solidFill>
                <a:effectLst/>
                <a:uLnTx/>
                <a:uFillTx/>
                <a:sym typeface="Arial" panose="020B0604020202020204" pitchFamily="34" charset="0"/>
              </a:rPr>
              <a:t>EMEAL</a:t>
            </a:r>
            <a:r>
              <a:rPr kumimoji="0" lang="ja-JP" altLang="es-ES" sz="1200" i="0" u="none" strike="noStrike" kern="1200" cap="none" spc="0" normalizeH="0" baseline="0" noProof="0" dirty="0">
                <a:ln>
                  <a:noFill/>
                </a:ln>
                <a:solidFill>
                  <a:srgbClr val="404040"/>
                </a:solidFill>
                <a:effectLst/>
                <a:uLnTx/>
                <a:uFillTx/>
                <a:sym typeface="Arial" panose="020B0604020202020204" pitchFamily="34" charset="0"/>
              </a:rPr>
              <a:t>内の拠点横断で</a:t>
            </a:r>
            <a:r>
              <a:rPr kumimoji="0" lang="en-US" sz="1200" b="1" i="0" u="none" strike="noStrike" kern="1200" cap="none" spc="0" normalizeH="0" baseline="0" noProof="0" dirty="0">
                <a:ln>
                  <a:noFill/>
                </a:ln>
                <a:solidFill>
                  <a:srgbClr val="404040"/>
                </a:solidFill>
                <a:effectLst/>
                <a:uLnTx/>
                <a:uFillTx/>
                <a:sym typeface="Arial" panose="020B0604020202020204" pitchFamily="34" charset="0"/>
              </a:rPr>
              <a:t>200</a:t>
            </a:r>
            <a:r>
              <a:rPr kumimoji="0" lang="ja-JP" altLang="es-ES" sz="1200" b="1" i="0" u="none" strike="noStrike" kern="1200" cap="none" spc="0" normalizeH="0" baseline="0" noProof="0" dirty="0">
                <a:ln>
                  <a:noFill/>
                </a:ln>
                <a:solidFill>
                  <a:srgbClr val="404040"/>
                </a:solidFill>
                <a:effectLst/>
                <a:uLnTx/>
                <a:uFillTx/>
                <a:sym typeface="Arial" panose="020B0604020202020204" pitchFamily="34" charset="0"/>
              </a:rPr>
              <a:t>名を超える</a:t>
            </a:r>
            <a:r>
              <a:rPr kumimoji="0" lang="en-US" sz="1200" b="1" i="0" u="none" strike="noStrike" kern="1200" cap="none" spc="0" normalizeH="0" baseline="0" noProof="0" dirty="0">
                <a:ln>
                  <a:noFill/>
                </a:ln>
                <a:solidFill>
                  <a:srgbClr val="404040"/>
                </a:solidFill>
                <a:effectLst/>
                <a:uLnTx/>
                <a:uFillTx/>
                <a:sym typeface="Arial" panose="020B0604020202020204" pitchFamily="34" charset="0"/>
              </a:rPr>
              <a:t>RPA</a:t>
            </a:r>
            <a:r>
              <a:rPr kumimoji="0" lang="ja-JP" altLang="es-ES" sz="1200" b="1" i="0" u="none" strike="noStrike" kern="1200" cap="none" spc="0" normalizeH="0" baseline="0" noProof="0" dirty="0">
                <a:ln>
                  <a:noFill/>
                </a:ln>
                <a:solidFill>
                  <a:srgbClr val="404040"/>
                </a:solidFill>
                <a:effectLst/>
                <a:uLnTx/>
                <a:uFillTx/>
                <a:sym typeface="Arial" panose="020B0604020202020204" pitchFamily="34" charset="0"/>
              </a:rPr>
              <a:t>コンサルタント</a:t>
            </a:r>
            <a:r>
              <a:rPr lang="ja-JP" altLang="es-ES" sz="1200" b="1" dirty="0">
                <a:solidFill>
                  <a:srgbClr val="404040"/>
                </a:solidFill>
                <a:sym typeface="Arial" panose="020B0604020202020204" pitchFamily="34" charset="0"/>
              </a:rPr>
              <a:t>、</a:t>
            </a:r>
            <a:r>
              <a:rPr kumimoji="0" lang="es-ES" altLang="ja-JP" sz="1200" b="1" i="0" u="none" strike="noStrike" kern="1200" cap="none" spc="0" normalizeH="0" baseline="0" noProof="0" dirty="0">
                <a:ln>
                  <a:noFill/>
                </a:ln>
                <a:solidFill>
                  <a:srgbClr val="404040"/>
                </a:solidFill>
                <a:effectLst/>
                <a:uLnTx/>
                <a:uFillTx/>
                <a:sym typeface="Arial" panose="020B0604020202020204" pitchFamily="34" charset="0"/>
              </a:rPr>
              <a:t>300</a:t>
            </a:r>
            <a:r>
              <a:rPr kumimoji="0" lang="ja-JP" altLang="es-ES" sz="1200" b="1" i="0" u="none" strike="noStrike" kern="1200" cap="none" spc="0" normalizeH="0" baseline="0" noProof="0" dirty="0">
                <a:ln>
                  <a:noFill/>
                </a:ln>
                <a:solidFill>
                  <a:srgbClr val="404040"/>
                </a:solidFill>
                <a:effectLst/>
                <a:uLnTx/>
                <a:uFillTx/>
                <a:sym typeface="Arial" panose="020B0604020202020204" pitchFamily="34" charset="0"/>
              </a:rPr>
              <a:t>名を超える</a:t>
            </a:r>
            <a:r>
              <a:rPr kumimoji="0" lang="es-ES" altLang="ja-JP" sz="1200" b="1" i="0" u="none" strike="noStrike" kern="1200" cap="none" spc="0" normalizeH="0" baseline="0" noProof="0" dirty="0">
                <a:ln>
                  <a:noFill/>
                </a:ln>
                <a:solidFill>
                  <a:srgbClr val="404040"/>
                </a:solidFill>
                <a:effectLst/>
                <a:uLnTx/>
                <a:uFillTx/>
                <a:sym typeface="Arial" panose="020B0604020202020204" pitchFamily="34" charset="0"/>
              </a:rPr>
              <a:t>RPA</a:t>
            </a:r>
            <a:r>
              <a:rPr kumimoji="0" lang="ja-JP" altLang="es-ES" sz="1200" b="1" i="0" u="none" strike="noStrike" kern="1200" cap="none" spc="0" normalizeH="0" baseline="0" noProof="0" dirty="0">
                <a:ln>
                  <a:noFill/>
                </a:ln>
                <a:solidFill>
                  <a:srgbClr val="404040"/>
                </a:solidFill>
                <a:effectLst/>
                <a:uLnTx/>
                <a:uFillTx/>
                <a:sym typeface="Arial" panose="020B0604020202020204" pitchFamily="34" charset="0"/>
              </a:rPr>
              <a:t>ツールの技術者</a:t>
            </a:r>
            <a:endParaRPr kumimoji="0" lang="en-US" sz="1200" b="1" i="0" u="none" strike="noStrike" kern="1200" cap="none" spc="0" normalizeH="0" baseline="0" noProof="0" dirty="0">
              <a:ln>
                <a:noFill/>
              </a:ln>
              <a:solidFill>
                <a:srgbClr val="404040"/>
              </a:solidFill>
              <a:effectLst/>
              <a:uLnTx/>
              <a:uFillTx/>
              <a:sym typeface="Arial" panose="020B0604020202020204" pitchFamily="34" charset="0"/>
            </a:endParaRPr>
          </a:p>
          <a:p>
            <a:pPr marL="171450" marR="0" lvl="0" indent="-171450" algn="l" defTabSz="914400" rtl="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lang="es-ES" altLang="ja-JP" sz="1200" dirty="0">
                <a:solidFill>
                  <a:srgbClr val="404040"/>
                </a:solidFill>
                <a:sym typeface="Arial" panose="020B0604020202020204" pitchFamily="34" charset="0"/>
              </a:rPr>
              <a:t>CoE</a:t>
            </a:r>
            <a:r>
              <a:rPr lang="ja-JP" altLang="es-ES" sz="1200" dirty="0">
                <a:solidFill>
                  <a:srgbClr val="404040"/>
                </a:solidFill>
                <a:sym typeface="Arial" panose="020B0604020202020204" pitchFamily="34" charset="0"/>
              </a:rPr>
              <a:t>内に</a:t>
            </a:r>
            <a:r>
              <a:rPr lang="ja-JP" altLang="es-ES" sz="1200" b="1" dirty="0">
                <a:solidFill>
                  <a:srgbClr val="404040"/>
                </a:solidFill>
                <a:sym typeface="Arial" panose="020B0604020202020204" pitchFamily="34" charset="0"/>
              </a:rPr>
              <a:t>メソドロジーおよびベストプラクティス</a:t>
            </a:r>
            <a:r>
              <a:rPr lang="ja-JP" altLang="es-ES" sz="1200" dirty="0">
                <a:solidFill>
                  <a:srgbClr val="404040"/>
                </a:solidFill>
                <a:sym typeface="Arial" panose="020B0604020202020204" pitchFamily="34" charset="0"/>
              </a:rPr>
              <a:t>を蓄積</a:t>
            </a:r>
            <a:r>
              <a:rPr kumimoji="0" lang="en-US" sz="1200" i="0" u="none" strike="noStrike" kern="1200" cap="none" spc="0" normalizeH="0" baseline="0" noProof="0" dirty="0">
                <a:ln>
                  <a:noFill/>
                </a:ln>
                <a:solidFill>
                  <a:srgbClr val="404040"/>
                </a:solidFill>
                <a:effectLst/>
                <a:uLnTx/>
                <a:uFillTx/>
                <a:sym typeface="Arial" panose="020B0604020202020204" pitchFamily="34" charset="0"/>
              </a:rPr>
              <a:t> </a:t>
            </a:r>
            <a:r>
              <a:rPr kumimoji="0" lang="ja-JP" altLang="es-ES" sz="1200" i="0" u="none" strike="noStrike" kern="1200" cap="none" spc="0" normalizeH="0" baseline="0" noProof="0" dirty="0">
                <a:ln>
                  <a:noFill/>
                </a:ln>
                <a:solidFill>
                  <a:srgbClr val="404040"/>
                </a:solidFill>
                <a:effectLst/>
                <a:uLnTx/>
                <a:uFillTx/>
                <a:sym typeface="Arial" panose="020B0604020202020204" pitchFamily="34" charset="0"/>
              </a:rPr>
              <a:t>（プロセスのガバナンス、運用方法等）</a:t>
            </a:r>
            <a:endParaRPr kumimoji="0" lang="es-ES" sz="1200" i="0" u="none" strike="noStrike" kern="0" cap="none" spc="0" normalizeH="0" baseline="0" noProof="0" dirty="0">
              <a:ln>
                <a:noFill/>
              </a:ln>
              <a:solidFill>
                <a:srgbClr val="404040"/>
              </a:solidFill>
              <a:effectLst/>
              <a:uLnTx/>
              <a:uFillTx/>
              <a:cs typeface="Arial" panose="020B0604020202020204" pitchFamily="34" charset="0"/>
              <a:sym typeface="Arial" panose="020B0604020202020204" pitchFamily="34" charset="0"/>
            </a:endParaRPr>
          </a:p>
        </p:txBody>
      </p:sp>
      <p:sp>
        <p:nvSpPr>
          <p:cNvPr id="83" name="Rectangle 54">
            <a:extLst>
              <a:ext uri="{FF2B5EF4-FFF2-40B4-BE49-F238E27FC236}">
                <a16:creationId xmlns:a16="http://schemas.microsoft.com/office/drawing/2014/main" id="{764A9500-BF4F-7240-B14B-B5FC76C6F2E8}"/>
              </a:ext>
            </a:extLst>
          </p:cNvPr>
          <p:cNvSpPr/>
          <p:nvPr/>
        </p:nvSpPr>
        <p:spPr>
          <a:xfrm>
            <a:off x="8021344" y="1640774"/>
            <a:ext cx="3516175" cy="547618"/>
          </a:xfrm>
          <a:prstGeom prst="roundRect">
            <a:avLst>
              <a:gd name="adj" fmla="val 9210"/>
            </a:avLst>
          </a:prstGeom>
          <a:solidFill>
            <a:srgbClr val="002060"/>
          </a:solidFill>
          <a:effectLst/>
        </p:spPr>
        <p:txBody>
          <a:bodyPr wrap="square" lIns="0" tIns="0" rIns="0" bIns="0"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8250">
              <a:defRPr/>
            </a:pPr>
            <a:r>
              <a:rPr lang="en-US" sz="1200" b="1" kern="0" dirty="0">
                <a:solidFill>
                  <a:srgbClr val="FFFFFF"/>
                </a:solidFill>
                <a:ea typeface="Microsoft Himalaya" pitchFamily="2" charset="0"/>
                <a:cs typeface="Arial" panose="020B0604020202020204" pitchFamily="34" charset="0"/>
                <a:sym typeface="Arial" panose="020B0604020202020204" pitchFamily="34" charset="0"/>
              </a:rPr>
              <a:t>RPA </a:t>
            </a:r>
            <a:r>
              <a:rPr lang="ja-JP" altLang="es-ES" sz="1200" b="1" kern="0" dirty="0">
                <a:solidFill>
                  <a:srgbClr val="FFFFFF"/>
                </a:solidFill>
                <a:ea typeface="Microsoft Himalaya" pitchFamily="2" charset="0"/>
                <a:cs typeface="Arial" panose="020B0604020202020204" pitchFamily="34" charset="0"/>
                <a:sym typeface="Arial" panose="020B0604020202020204" pitchFamily="34" charset="0"/>
              </a:rPr>
              <a:t>クラウド・プラットフォーム</a:t>
            </a:r>
            <a:endParaRPr lang="en-US" sz="1200" b="1" kern="0" dirty="0">
              <a:solidFill>
                <a:srgbClr val="FFFFFF"/>
              </a:solidFill>
              <a:ea typeface="Microsoft Himalaya" pitchFamily="2" charset="0"/>
              <a:cs typeface="Arial" panose="020B0604020202020204" pitchFamily="34" charset="0"/>
              <a:sym typeface="Arial" panose="020B0604020202020204" pitchFamily="34" charset="0"/>
            </a:endParaRPr>
          </a:p>
        </p:txBody>
      </p:sp>
      <p:sp>
        <p:nvSpPr>
          <p:cNvPr id="84" name="28 Rectángulo">
            <a:extLst>
              <a:ext uri="{FF2B5EF4-FFF2-40B4-BE49-F238E27FC236}">
                <a16:creationId xmlns:a16="http://schemas.microsoft.com/office/drawing/2014/main" id="{665B904C-E980-4F4D-BDA9-252E12595F3C}"/>
              </a:ext>
            </a:extLst>
          </p:cNvPr>
          <p:cNvSpPr/>
          <p:nvPr/>
        </p:nvSpPr>
        <p:spPr>
          <a:xfrm>
            <a:off x="8021343" y="2216773"/>
            <a:ext cx="3516176" cy="2240311"/>
          </a:xfrm>
          <a:prstGeom prst="roundRect">
            <a:avLst>
              <a:gd name="adj" fmla="val 8801"/>
            </a:avLst>
          </a:prstGeom>
          <a:solidFill>
            <a:sysClr val="window" lastClr="FFFFFF">
              <a:lumMod val="95000"/>
            </a:sysClr>
          </a:solidFill>
          <a:ln w="12700" cap="flat" cmpd="sng" algn="ctr">
            <a:noFill/>
            <a:prstDash val="solid"/>
            <a:miter lim="800000"/>
          </a:ln>
          <a:effectLst/>
        </p:spPr>
        <p:txBody>
          <a:bodyPr lIns="0" tIns="0" rIns="0" bIns="0" rtlCol="0" anchor="ctr"/>
          <a:lstStyle/>
          <a:p>
            <a:pPr marL="171450" marR="0" lvl="0" indent="-171450" defTabSz="91440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kumimoji="0" lang="ja-JP" altLang="es-ES" sz="1200" i="0" u="none" strike="noStrike" kern="0" cap="none" spc="0" normalizeH="0" baseline="0" noProof="0" dirty="0">
                <a:ln>
                  <a:noFill/>
                </a:ln>
                <a:solidFill>
                  <a:srgbClr val="404040"/>
                </a:solidFill>
                <a:effectLst/>
                <a:uLnTx/>
                <a:uFillTx/>
                <a:sym typeface="Arial" panose="020B0604020202020204" pitchFamily="34" charset="0"/>
              </a:rPr>
              <a:t>クラウド・プラットフォーム上で</a:t>
            </a:r>
            <a:r>
              <a:rPr kumimoji="0" lang="en-US" sz="1200" b="1" i="0" u="none" strike="noStrike" kern="0" cap="none" spc="0" normalizeH="0" baseline="0" noProof="0" dirty="0">
                <a:ln>
                  <a:noFill/>
                </a:ln>
                <a:solidFill>
                  <a:srgbClr val="404040"/>
                </a:solidFill>
                <a:effectLst/>
                <a:uLnTx/>
                <a:uFillTx/>
                <a:sym typeface="Arial" panose="020B0604020202020204" pitchFamily="34" charset="0"/>
              </a:rPr>
              <a:t>RPA</a:t>
            </a:r>
            <a:r>
              <a:rPr kumimoji="0" lang="ja-JP" altLang="es-ES" sz="1200" b="1" i="0" u="none" strike="noStrike" kern="0" cap="none" spc="0" normalizeH="0" baseline="0" noProof="0" dirty="0">
                <a:ln>
                  <a:noFill/>
                </a:ln>
                <a:solidFill>
                  <a:srgbClr val="404040"/>
                </a:solidFill>
                <a:effectLst/>
                <a:uLnTx/>
                <a:uFillTx/>
                <a:sym typeface="Arial" panose="020B0604020202020204" pitchFamily="34" charset="0"/>
              </a:rPr>
              <a:t>ツールをサービス提供</a:t>
            </a:r>
            <a:endParaRPr kumimoji="0" lang="es-ES" altLang="ja-JP" sz="1200" b="1" i="0" u="none" strike="noStrike" kern="0" cap="none" spc="0" normalizeH="0" baseline="0" noProof="0" dirty="0">
              <a:ln>
                <a:noFill/>
              </a:ln>
              <a:solidFill>
                <a:srgbClr val="404040"/>
              </a:solidFill>
              <a:effectLst/>
              <a:uLnTx/>
              <a:uFillTx/>
              <a:sym typeface="Arial" panose="020B0604020202020204" pitchFamily="34" charset="0"/>
            </a:endParaRPr>
          </a:p>
          <a:p>
            <a:pPr marL="171450" marR="0" lvl="0" indent="-171450" defTabSz="914400" eaLnBrk="1" fontAlgn="auto" latinLnBrk="0" hangingPunct="1">
              <a:lnSpc>
                <a:spcPct val="150000"/>
              </a:lnSpc>
              <a:spcBef>
                <a:spcPts val="200"/>
              </a:spcBef>
              <a:spcAft>
                <a:spcPts val="200"/>
              </a:spcAft>
              <a:buClr>
                <a:srgbClr val="0044A1"/>
              </a:buClr>
              <a:buSzTx/>
              <a:buFont typeface="Wingdings" panose="05000000000000000000" pitchFamily="2" charset="2"/>
              <a:buChar char="§"/>
              <a:tabLst/>
              <a:defRPr/>
            </a:pPr>
            <a:r>
              <a:rPr kumimoji="0" lang="es-ES" altLang="ja-JP" sz="1200" i="0" u="none" strike="noStrike" kern="0" cap="none" spc="0" normalizeH="0" baseline="0" noProof="0" dirty="0">
                <a:ln>
                  <a:noFill/>
                </a:ln>
                <a:solidFill>
                  <a:srgbClr val="404040"/>
                </a:solidFill>
                <a:effectLst/>
                <a:uLnTx/>
                <a:uFillTx/>
                <a:sym typeface="Arial" panose="020B0604020202020204" pitchFamily="34" charset="0"/>
              </a:rPr>
              <a:t>OCR</a:t>
            </a:r>
            <a:r>
              <a:rPr kumimoji="0" lang="ja-JP" altLang="es-ES" sz="1200" i="0" u="none" strike="noStrike" kern="0" cap="none" spc="0" normalizeH="0" baseline="0" noProof="0" dirty="0">
                <a:ln>
                  <a:noFill/>
                </a:ln>
                <a:solidFill>
                  <a:srgbClr val="404040"/>
                </a:solidFill>
                <a:effectLst/>
                <a:uLnTx/>
                <a:uFillTx/>
                <a:sym typeface="Arial" panose="020B0604020202020204" pitchFamily="34" charset="0"/>
              </a:rPr>
              <a:t>（文字読み取り）や</a:t>
            </a:r>
            <a:r>
              <a:rPr kumimoji="0" lang="es-ES" altLang="ja-JP" sz="1200" i="0" u="none" strike="noStrike" kern="0" cap="none" spc="0" normalizeH="0" baseline="0" noProof="0" dirty="0">
                <a:ln>
                  <a:noFill/>
                </a:ln>
                <a:solidFill>
                  <a:srgbClr val="404040"/>
                </a:solidFill>
                <a:effectLst/>
                <a:uLnTx/>
                <a:uFillTx/>
                <a:sym typeface="Arial" panose="020B0604020202020204" pitchFamily="34" charset="0"/>
              </a:rPr>
              <a:t>NLP</a:t>
            </a:r>
            <a:r>
              <a:rPr kumimoji="0" lang="ja-JP" altLang="es-ES" sz="1200" i="0" u="none" strike="noStrike" kern="0" cap="none" spc="0" normalizeH="0" baseline="0" noProof="0" dirty="0">
                <a:ln>
                  <a:noFill/>
                </a:ln>
                <a:solidFill>
                  <a:srgbClr val="404040"/>
                </a:solidFill>
                <a:effectLst/>
                <a:uLnTx/>
                <a:uFillTx/>
                <a:sym typeface="Arial" panose="020B0604020202020204" pitchFamily="34" charset="0"/>
              </a:rPr>
              <a:t>（自然言語処理）等の補完的な技術との融合、提供サービス強化</a:t>
            </a:r>
            <a:endParaRPr kumimoji="0" lang="en-US" sz="1200" i="0" u="none" strike="noStrike" kern="0" cap="none" spc="0" normalizeH="0" baseline="0" noProof="0" dirty="0">
              <a:ln>
                <a:noFill/>
              </a:ln>
              <a:solidFill>
                <a:srgbClr val="404040"/>
              </a:solidFill>
              <a:effectLst/>
              <a:uLnTx/>
              <a:uFillTx/>
              <a:sym typeface="Arial" panose="020B0604020202020204" pitchFamily="34" charset="0"/>
            </a:endParaRPr>
          </a:p>
        </p:txBody>
      </p:sp>
      <p:pic>
        <p:nvPicPr>
          <p:cNvPr id="87" name="Imagen 86"/>
          <p:cNvPicPr>
            <a:picLocks noChangeAspect="1"/>
          </p:cNvPicPr>
          <p:nvPr/>
        </p:nvPicPr>
        <p:blipFill>
          <a:blip r:embed="rId3"/>
          <a:stretch>
            <a:fillRect/>
          </a:stretch>
        </p:blipFill>
        <p:spPr>
          <a:xfrm>
            <a:off x="10371576" y="4142232"/>
            <a:ext cx="798987" cy="190071"/>
          </a:xfrm>
          <a:prstGeom prst="rect">
            <a:avLst/>
          </a:prstGeom>
        </p:spPr>
      </p:pic>
    </p:spTree>
    <p:extLst>
      <p:ext uri="{BB962C8B-B14F-4D97-AF65-F5344CB8AC3E}">
        <p14:creationId xmlns:p14="http://schemas.microsoft.com/office/powerpoint/2010/main" val="96382295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a:extLst>
              <a:ext uri="{FF2B5EF4-FFF2-40B4-BE49-F238E27FC236}">
                <a16:creationId xmlns:a16="http://schemas.microsoft.com/office/drawing/2014/main" id="{E0133A14-E123-1BA5-CDCA-29518DE01852}"/>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0"/>
            <a:ext cx="12277817" cy="6858000"/>
          </a:xfrm>
          <a:prstGeom prst="rect">
            <a:avLst/>
          </a:prstGeom>
        </p:spPr>
      </p:pic>
      <p:sp>
        <p:nvSpPr>
          <p:cNvPr id="2" name="Rectángulo 1"/>
          <p:cNvSpPr/>
          <p:nvPr/>
        </p:nvSpPr>
        <p:spPr>
          <a:xfrm>
            <a:off x="9499600" y="68222"/>
            <a:ext cx="2678948" cy="41641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4" name="Objeto 3" hidden="1">
            <a:extLst>
              <a:ext uri="{FF2B5EF4-FFF2-40B4-BE49-F238E27FC236}">
                <a16:creationId xmlns:a16="http://schemas.microsoft.com/office/drawing/2014/main" id="{8A705BAF-61FA-867E-5551-8EBA273BD8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5" imgH="424" progId="TCLayout.ActiveDocument.1">
                  <p:embed/>
                </p:oleObj>
              </mc:Choice>
              <mc:Fallback>
                <p:oleObj name="Diapositiva de think-cell" r:id="rId5" imgW="425" imgH="424" progId="TCLayout.ActiveDocument.1">
                  <p:embed/>
                  <p:pic>
                    <p:nvPicPr>
                      <p:cNvPr id="4" name="Objeto 3" hidden="1">
                        <a:extLst>
                          <a:ext uri="{FF2B5EF4-FFF2-40B4-BE49-F238E27FC236}">
                            <a16:creationId xmlns:a16="http://schemas.microsoft.com/office/drawing/2014/main" id="{8A705BAF-61FA-867E-5551-8EBA273BD8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ángulo 11">
            <a:extLst>
              <a:ext uri="{FF2B5EF4-FFF2-40B4-BE49-F238E27FC236}">
                <a16:creationId xmlns:a16="http://schemas.microsoft.com/office/drawing/2014/main" id="{7B48974F-1721-C102-EC4C-5FF9BBF4E8A2}"/>
              </a:ext>
            </a:extLst>
          </p:cNvPr>
          <p:cNvSpPr/>
          <p:nvPr/>
        </p:nvSpPr>
        <p:spPr>
          <a:xfrm>
            <a:off x="0" y="5496560"/>
            <a:ext cx="12192000" cy="1361440"/>
          </a:xfrm>
          <a:prstGeom prst="rect">
            <a:avLst/>
          </a:prstGeom>
          <a:solidFill>
            <a:srgbClr val="010101">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srgbClr val="FFFFFF"/>
              </a:solidFill>
              <a:latin typeface="Roboto" panose="02000000000000000000" pitchFamily="2" charset="0"/>
              <a:ea typeface="Roboto" panose="02000000000000000000" pitchFamily="2" charset="0"/>
              <a:sym typeface="Roboto" panose="02000000000000000000" pitchFamily="2" charset="0"/>
            </a:endParaRPr>
          </a:p>
        </p:txBody>
      </p:sp>
      <p:pic>
        <p:nvPicPr>
          <p:cNvPr id="21" name="object 8">
            <a:extLst>
              <a:ext uri="{FF2B5EF4-FFF2-40B4-BE49-F238E27FC236}">
                <a16:creationId xmlns:a16="http://schemas.microsoft.com/office/drawing/2014/main" id="{6B8C7CDA-D47F-158F-33C2-07F7DBBBC647}"/>
              </a:ext>
            </a:extLst>
          </p:cNvPr>
          <p:cNvPicPr/>
          <p:nvPr/>
        </p:nvPicPr>
        <p:blipFill>
          <a:blip r:embed="rId7" cstate="print">
            <a:alphaModFix amt="50000"/>
          </a:blip>
          <a:stretch>
            <a:fillRect/>
          </a:stretch>
        </p:blipFill>
        <p:spPr>
          <a:xfrm>
            <a:off x="0" y="0"/>
            <a:ext cx="8057388" cy="6858000"/>
          </a:xfrm>
          <a:prstGeom prst="rect">
            <a:avLst/>
          </a:prstGeom>
        </p:spPr>
      </p:pic>
      <p:sp>
        <p:nvSpPr>
          <p:cNvPr id="23" name="object 5">
            <a:extLst>
              <a:ext uri="{FF2B5EF4-FFF2-40B4-BE49-F238E27FC236}">
                <a16:creationId xmlns:a16="http://schemas.microsoft.com/office/drawing/2014/main" id="{CF2CB1DD-E64F-9025-8644-5DD55AE49488}"/>
              </a:ext>
            </a:extLst>
          </p:cNvPr>
          <p:cNvSpPr/>
          <p:nvPr/>
        </p:nvSpPr>
        <p:spPr>
          <a:xfrm>
            <a:off x="281444" y="6474785"/>
            <a:ext cx="11383010" cy="0"/>
          </a:xfrm>
          <a:custGeom>
            <a:avLst/>
            <a:gdLst/>
            <a:ahLst/>
            <a:cxnLst/>
            <a:rect l="l" t="t" r="r" b="b"/>
            <a:pathLst>
              <a:path w="11383010">
                <a:moveTo>
                  <a:pt x="11382502" y="0"/>
                </a:moveTo>
                <a:lnTo>
                  <a:pt x="0" y="0"/>
                </a:lnTo>
              </a:path>
            </a:pathLst>
          </a:custGeom>
          <a:ln w="31221">
            <a:solidFill>
              <a:srgbClr val="FFFFFF"/>
            </a:solidFill>
          </a:ln>
        </p:spPr>
        <p:txBody>
          <a:bodyPr wrap="square" lIns="0" tIns="0" rIns="0" bIns="0" rtlCol="0"/>
          <a:lstStyle/>
          <a:p>
            <a:endParaRPr lang="es-MX" dirty="0">
              <a:solidFill>
                <a:srgbClr val="505050"/>
              </a:solidFill>
              <a:latin typeface="Roboto" panose="02000000000000000000" pitchFamily="2" charset="0"/>
              <a:ea typeface="Roboto" panose="02000000000000000000" pitchFamily="2" charset="0"/>
              <a:sym typeface="Roboto" panose="02000000000000000000" pitchFamily="2" charset="0"/>
            </a:endParaRPr>
          </a:p>
        </p:txBody>
      </p:sp>
      <p:pic>
        <p:nvPicPr>
          <p:cNvPr id="9" name="Graphic 4">
            <a:extLst>
              <a:ext uri="{FF2B5EF4-FFF2-40B4-BE49-F238E27FC236}">
                <a16:creationId xmlns:a16="http://schemas.microsoft.com/office/drawing/2014/main" id="{7A567AFC-70DB-4F5D-B6B4-1DD5ECE49B5B}"/>
              </a:ext>
            </a:extLst>
          </p:cNvPr>
          <p:cNvPicPr>
            <a:picLocks noChangeAspect="1"/>
          </p:cNvPicPr>
          <p:nvPr/>
        </p:nvPicPr>
        <p:blipFill>
          <a:blip r:embed="rId8" cstate="screen">
            <a:biLevel thresh="75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84169" y="193867"/>
            <a:ext cx="1014901" cy="164722"/>
          </a:xfrm>
          <a:prstGeom prst="rect">
            <a:avLst/>
          </a:prstGeom>
        </p:spPr>
      </p:pic>
      <p:pic>
        <p:nvPicPr>
          <p:cNvPr id="10" name="Imagen 9"/>
          <p:cNvPicPr>
            <a:picLocks noChangeAspect="1"/>
          </p:cNvPicPr>
          <p:nvPr/>
        </p:nvPicPr>
        <p:blipFill>
          <a:blip r:embed="rId10">
            <a:biLevel thresh="75000"/>
          </a:blip>
          <a:stretch>
            <a:fillRect/>
          </a:stretch>
        </p:blipFill>
        <p:spPr>
          <a:xfrm>
            <a:off x="9746442" y="113942"/>
            <a:ext cx="1058249" cy="322415"/>
          </a:xfrm>
          <a:prstGeom prst="rect">
            <a:avLst/>
          </a:prstGeom>
        </p:spPr>
      </p:pic>
      <p:sp>
        <p:nvSpPr>
          <p:cNvPr id="3" name="CuadroTexto 2"/>
          <p:cNvSpPr txBox="1"/>
          <p:nvPr/>
        </p:nvSpPr>
        <p:spPr>
          <a:xfrm>
            <a:off x="4272424" y="2621264"/>
            <a:ext cx="3647152" cy="369332"/>
          </a:xfrm>
          <a:prstGeom prst="rect">
            <a:avLst/>
          </a:prstGeom>
          <a:noFill/>
        </p:spPr>
        <p:txBody>
          <a:bodyPr wrap="none" rtlCol="0">
            <a:spAutoFit/>
          </a:bodyPr>
          <a:lstStyle/>
          <a:p>
            <a:r>
              <a:rPr lang="ja-JP" altLang="es-ES" dirty="0">
                <a:solidFill>
                  <a:schemeClr val="bg1"/>
                </a:solidFill>
              </a:rPr>
              <a:t>ご清聴ありがとうございました。</a:t>
            </a:r>
            <a:endParaRPr lang="es-ES" dirty="0">
              <a:solidFill>
                <a:schemeClr val="bg1"/>
              </a:solidFill>
            </a:endParaRPr>
          </a:p>
        </p:txBody>
      </p:sp>
    </p:spTree>
    <p:extLst>
      <p:ext uri="{BB962C8B-B14F-4D97-AF65-F5344CB8AC3E}">
        <p14:creationId xmlns:p14="http://schemas.microsoft.com/office/powerpoint/2010/main" val="2592250799"/>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ja-JP" altLang="es-ES" dirty="0"/>
              <a:t>多岐にわたる業界各企業にて自動化プロジェクトを推進中</a:t>
            </a:r>
            <a:endParaRPr lang="en-US" dirty="0"/>
          </a:p>
        </p:txBody>
      </p:sp>
      <p:sp>
        <p:nvSpPr>
          <p:cNvPr id="4" name="Marcador de texto 3"/>
          <p:cNvSpPr>
            <a:spLocks noGrp="1"/>
          </p:cNvSpPr>
          <p:nvPr>
            <p:ph type="body" sz="quarter" idx="21"/>
          </p:nvPr>
        </p:nvSpPr>
        <p:spPr/>
        <p:txBody>
          <a:bodyPr/>
          <a:lstStyle/>
          <a:p>
            <a:r>
              <a:rPr lang="ja-JP" altLang="es-ES" dirty="0"/>
              <a:t>参考</a:t>
            </a:r>
            <a:r>
              <a:rPr lang="es-ES" altLang="ja-JP" dirty="0"/>
              <a:t>: </a:t>
            </a:r>
            <a:r>
              <a:rPr lang="ja-JP" altLang="es-ES" dirty="0"/>
              <a:t>業界別</a:t>
            </a:r>
            <a:r>
              <a:rPr lang="es-ES" altLang="ja-JP" dirty="0"/>
              <a:t>RPA</a:t>
            </a:r>
            <a:r>
              <a:rPr lang="ja-JP" altLang="es-ES" dirty="0"/>
              <a:t>プロジェクト推進企業様（抜粋）</a:t>
            </a:r>
            <a:endParaRPr lang="en-GB" dirty="0"/>
          </a:p>
        </p:txBody>
      </p:sp>
      <p:pic>
        <p:nvPicPr>
          <p:cNvPr id="65" name="Imagen 118">
            <a:extLst>
              <a:ext uri="{FF2B5EF4-FFF2-40B4-BE49-F238E27FC236}">
                <a16:creationId xmlns:a16="http://schemas.microsoft.com/office/drawing/2014/main" id="{6085112D-B54E-4BB8-9670-601F8DA0A2A5}"/>
              </a:ext>
            </a:extLst>
          </p:cNvPr>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66659" y="1969827"/>
            <a:ext cx="955352" cy="289799"/>
          </a:xfrm>
          <a:prstGeom prst="rect">
            <a:avLst/>
          </a:prstGeom>
        </p:spPr>
      </p:pic>
      <p:pic>
        <p:nvPicPr>
          <p:cNvPr id="66" name="Picture 4" descr="http://videas.tv/wp-content/uploads/2015/05/Santander-logo-videas.png">
            <a:extLst>
              <a:ext uri="{FF2B5EF4-FFF2-40B4-BE49-F238E27FC236}">
                <a16:creationId xmlns:a16="http://schemas.microsoft.com/office/drawing/2014/main" id="{EE144D48-45AF-4306-AC1A-DF36D885C91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333564" y="3416398"/>
            <a:ext cx="1067962" cy="24188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Resultado de imagen de banc sabadell logo">
            <a:extLst>
              <a:ext uri="{FF2B5EF4-FFF2-40B4-BE49-F238E27FC236}">
                <a16:creationId xmlns:a16="http://schemas.microsoft.com/office/drawing/2014/main" id="{666A6D18-B11D-4A80-9216-0D3D9DA6DE2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354459" y="2450441"/>
            <a:ext cx="1028451" cy="306838"/>
          </a:xfrm>
          <a:prstGeom prst="rect">
            <a:avLst/>
          </a:prstGeom>
          <a:noFill/>
          <a:extLst>
            <a:ext uri="{909E8E84-426E-40DD-AFC4-6F175D3DCCD1}">
              <a14:hiddenFill xmlns:a14="http://schemas.microsoft.com/office/drawing/2010/main">
                <a:solidFill>
                  <a:srgbClr val="FFFFFF"/>
                </a:solidFill>
              </a14:hiddenFill>
            </a:ext>
          </a:extLst>
        </p:spPr>
      </p:pic>
      <p:sp>
        <p:nvSpPr>
          <p:cNvPr id="68" name="CuadroTexto 121">
            <a:extLst>
              <a:ext uri="{FF2B5EF4-FFF2-40B4-BE49-F238E27FC236}">
                <a16:creationId xmlns:a16="http://schemas.microsoft.com/office/drawing/2014/main" id="{80017F39-AF7F-4D43-B4BC-BDD39D2A7AE8}"/>
              </a:ext>
            </a:extLst>
          </p:cNvPr>
          <p:cNvSpPr txBox="1"/>
          <p:nvPr/>
        </p:nvSpPr>
        <p:spPr>
          <a:xfrm>
            <a:off x="3217363" y="1452484"/>
            <a:ext cx="1486177" cy="257951"/>
          </a:xfrm>
          <a:prstGeom prst="rect">
            <a:avLst/>
          </a:prstGeom>
          <a:solidFill>
            <a:srgbClr val="002060"/>
          </a:solidFill>
          <a:ln>
            <a:noFill/>
          </a:ln>
          <a:effectLst/>
        </p:spPr>
        <p:txBody>
          <a:bodyPr wrap="none">
            <a:noAutofit/>
          </a:bodyPr>
          <a:lstStyle>
            <a:defPPr>
              <a:defRPr lang="es-ES"/>
            </a:defPPr>
            <a:lvl1pPr algn="ctr" defTabSz="914120">
              <a:defRPr sz="1200" b="1" kern="0">
                <a:solidFill>
                  <a:schemeClr val="bg1"/>
                </a:solidFill>
                <a:latin typeface="Century Gothic" panose="020B0502020202020204" pitchFamily="34" charset="0"/>
                <a:ea typeface="Microsoft Himalaya" pitchFamily="2" charset="0"/>
                <a:cs typeface="Arial" panose="020B0604020202020204" pitchFamily="34" charset="0"/>
              </a:defRPr>
            </a:lvl1pPr>
          </a:lstStyle>
          <a:p>
            <a:pPr marL="0" marR="0" lvl="0" indent="0" algn="ctr" defTabSz="914120" rtl="0" eaLnBrk="1" fontAlgn="auto" latinLnBrk="0" hangingPunct="0">
              <a:lnSpc>
                <a:spcPct val="100000"/>
              </a:lnSpc>
              <a:spcBef>
                <a:spcPts val="0"/>
              </a:spcBef>
              <a:spcAft>
                <a:spcPts val="0"/>
              </a:spcAft>
              <a:buClrTx/>
              <a:buSzTx/>
              <a:buFontTx/>
              <a:buNone/>
              <a:tabLst/>
              <a:defRPr/>
            </a:pPr>
            <a:r>
              <a:rPr kumimoji="0" lang="ja-JP" altLang="es-ES" sz="1200" b="1" i="0" u="none" strike="noStrike" kern="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sym typeface="Arial"/>
              </a:rPr>
              <a:t>エネルギー</a:t>
            </a:r>
            <a:endPar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icrosoft Himalaya" pitchFamily="2" charset="0"/>
              <a:cs typeface="Arial" panose="020B0604020202020204" pitchFamily="34" charset="0"/>
              <a:sym typeface="Arial"/>
            </a:endParaRPr>
          </a:p>
        </p:txBody>
      </p:sp>
      <p:sp>
        <p:nvSpPr>
          <p:cNvPr id="69" name="CuadroTexto 122">
            <a:extLst>
              <a:ext uri="{FF2B5EF4-FFF2-40B4-BE49-F238E27FC236}">
                <a16:creationId xmlns:a16="http://schemas.microsoft.com/office/drawing/2014/main" id="{9013167C-80AE-4FF0-BB3D-A77EB348AF95}"/>
              </a:ext>
            </a:extLst>
          </p:cNvPr>
          <p:cNvSpPr txBox="1"/>
          <p:nvPr/>
        </p:nvSpPr>
        <p:spPr>
          <a:xfrm>
            <a:off x="4771300" y="1452484"/>
            <a:ext cx="1403120" cy="257951"/>
          </a:xfrm>
          <a:prstGeom prst="rect">
            <a:avLst/>
          </a:prstGeom>
          <a:solidFill>
            <a:srgbClr val="002060"/>
          </a:solidFill>
          <a:ln>
            <a:noFill/>
          </a:ln>
          <a:effectLst/>
        </p:spPr>
        <p:txBody>
          <a:bodyPr wrap="none">
            <a:noAutofit/>
          </a:bodyPr>
          <a:lstStyle>
            <a:defPPr>
              <a:defRPr lang="es-ES"/>
            </a:defPPr>
            <a:lvl1pPr algn="ctr" defTabSz="914120">
              <a:defRPr sz="1200" b="1" kern="0">
                <a:solidFill>
                  <a:schemeClr val="bg1"/>
                </a:solidFill>
                <a:latin typeface="Century Gothic" panose="020B0502020202020204" pitchFamily="34" charset="0"/>
                <a:ea typeface="Microsoft Himalaya" pitchFamily="2" charset="0"/>
                <a:cs typeface="Arial" panose="020B0604020202020204" pitchFamily="34" charset="0"/>
              </a:defRPr>
            </a:lvl1pPr>
          </a:lstStyle>
          <a:p>
            <a:pPr marL="0" marR="0" lvl="0" indent="0" algn="ctr" defTabSz="914120" rtl="0" eaLnBrk="1" fontAlgn="auto" latinLnBrk="0" hangingPunct="0">
              <a:lnSpc>
                <a:spcPct val="100000"/>
              </a:lnSpc>
              <a:spcBef>
                <a:spcPts val="0"/>
              </a:spcBef>
              <a:spcAft>
                <a:spcPts val="0"/>
              </a:spcAft>
              <a:buClrTx/>
              <a:buSzTx/>
              <a:buFontTx/>
              <a:buNone/>
              <a:tabLst/>
              <a:defRPr/>
            </a:pPr>
            <a:r>
              <a:rPr kumimoji="0" lang="ja-JP" altLang="es-ES" sz="1200" b="1" i="0" u="none" strike="noStrike" kern="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sym typeface="Arial"/>
              </a:rPr>
              <a:t>保険</a:t>
            </a:r>
            <a:endPar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icrosoft Himalaya" pitchFamily="2" charset="0"/>
              <a:cs typeface="Arial" panose="020B0604020202020204" pitchFamily="34" charset="0"/>
              <a:sym typeface="Arial"/>
            </a:endParaRPr>
          </a:p>
        </p:txBody>
      </p:sp>
      <p:sp>
        <p:nvSpPr>
          <p:cNvPr id="70" name="CuadroTexto 123">
            <a:extLst>
              <a:ext uri="{FF2B5EF4-FFF2-40B4-BE49-F238E27FC236}">
                <a16:creationId xmlns:a16="http://schemas.microsoft.com/office/drawing/2014/main" id="{FBE0C4A5-2D0A-4CBE-A31C-A50215475047}"/>
              </a:ext>
            </a:extLst>
          </p:cNvPr>
          <p:cNvSpPr txBox="1"/>
          <p:nvPr/>
        </p:nvSpPr>
        <p:spPr>
          <a:xfrm>
            <a:off x="511452" y="1452483"/>
            <a:ext cx="1314105" cy="257951"/>
          </a:xfrm>
          <a:prstGeom prst="rect">
            <a:avLst/>
          </a:prstGeom>
          <a:solidFill>
            <a:srgbClr val="002060"/>
          </a:solidFill>
          <a:ln>
            <a:noFill/>
          </a:ln>
          <a:effectLst/>
        </p:spPr>
        <p:txBody>
          <a:bodyPr wrap="none">
            <a:noAutofit/>
          </a:bodyPr>
          <a:lstStyle>
            <a:defPPr>
              <a:defRPr lang="es-ES"/>
            </a:defPPr>
            <a:lvl1pPr algn="ctr" defTabSz="914120">
              <a:defRPr sz="1200" b="1" kern="0">
                <a:solidFill>
                  <a:schemeClr val="bg1"/>
                </a:solidFill>
                <a:latin typeface="Century Gothic" panose="020B0502020202020204" pitchFamily="34" charset="0"/>
                <a:ea typeface="Microsoft Himalaya" pitchFamily="2" charset="0"/>
                <a:cs typeface="Arial" panose="020B0604020202020204" pitchFamily="34" charset="0"/>
              </a:defRPr>
            </a:lvl1pPr>
          </a:lstStyle>
          <a:p>
            <a:pPr marL="0" marR="0" lvl="0" indent="0" algn="ctr" defTabSz="914120" rtl="0" eaLnBrk="1" fontAlgn="auto" latinLnBrk="0" hangingPunct="0">
              <a:lnSpc>
                <a:spcPct val="100000"/>
              </a:lnSpc>
              <a:spcBef>
                <a:spcPts val="0"/>
              </a:spcBef>
              <a:spcAft>
                <a:spcPts val="0"/>
              </a:spcAft>
              <a:buClrTx/>
              <a:buSzTx/>
              <a:buFontTx/>
              <a:buNone/>
              <a:tabLst/>
              <a:defRPr/>
            </a:pPr>
            <a:r>
              <a:rPr kumimoji="0" lang="ja-JP" altLang="es-ES" sz="1200" b="1" i="0" u="none" strike="noStrike" kern="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sym typeface="Arial"/>
              </a:rPr>
              <a:t>法人</a:t>
            </a:r>
            <a:endPar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icrosoft Himalaya" pitchFamily="2" charset="0"/>
              <a:cs typeface="Arial" panose="020B0604020202020204" pitchFamily="34" charset="0"/>
              <a:sym typeface="Arial"/>
            </a:endParaRPr>
          </a:p>
        </p:txBody>
      </p:sp>
      <p:sp>
        <p:nvSpPr>
          <p:cNvPr id="71" name="CuadroTexto 124">
            <a:extLst>
              <a:ext uri="{FF2B5EF4-FFF2-40B4-BE49-F238E27FC236}">
                <a16:creationId xmlns:a16="http://schemas.microsoft.com/office/drawing/2014/main" id="{70C8AC45-C28A-4DC4-96B3-A8D1682DE982}"/>
              </a:ext>
            </a:extLst>
          </p:cNvPr>
          <p:cNvSpPr txBox="1"/>
          <p:nvPr/>
        </p:nvSpPr>
        <p:spPr>
          <a:xfrm>
            <a:off x="6246922" y="1452484"/>
            <a:ext cx="1193191" cy="257951"/>
          </a:xfrm>
          <a:prstGeom prst="rect">
            <a:avLst/>
          </a:prstGeom>
          <a:solidFill>
            <a:srgbClr val="002060"/>
          </a:solidFill>
          <a:ln>
            <a:noFill/>
          </a:ln>
          <a:effectLst/>
        </p:spPr>
        <p:txBody>
          <a:bodyPr wrap="none">
            <a:noAutofit/>
          </a:bodyPr>
          <a:lstStyle>
            <a:defPPr>
              <a:defRPr lang="es-ES"/>
            </a:defPPr>
            <a:lvl1pPr algn="ctr" defTabSz="914120">
              <a:defRPr sz="1200" b="1" kern="0">
                <a:solidFill>
                  <a:schemeClr val="bg1"/>
                </a:solidFill>
                <a:latin typeface="Century Gothic" panose="020B0502020202020204" pitchFamily="34" charset="0"/>
                <a:ea typeface="Microsoft Himalaya" pitchFamily="2" charset="0"/>
                <a:cs typeface="Arial" panose="020B0604020202020204" pitchFamily="34" charset="0"/>
              </a:defRPr>
            </a:lvl1pPr>
          </a:lstStyle>
          <a:p>
            <a:pPr marL="0" marR="0" lvl="0" indent="0" algn="ctr" defTabSz="914120" rtl="0" eaLnBrk="1" fontAlgn="auto" latinLnBrk="0" hangingPunct="0">
              <a:lnSpc>
                <a:spcPct val="100000"/>
              </a:lnSpc>
              <a:spcBef>
                <a:spcPts val="0"/>
              </a:spcBef>
              <a:spcAft>
                <a:spcPts val="0"/>
              </a:spcAft>
              <a:buClrTx/>
              <a:buSzTx/>
              <a:buFontTx/>
              <a:buNone/>
              <a:tabLst/>
              <a:defRPr/>
            </a:pPr>
            <a:r>
              <a:rPr kumimoji="0" lang="ja-JP" altLang="es-ES" sz="1200" b="1" i="0" u="none" strike="noStrike" kern="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sym typeface="Arial"/>
              </a:rPr>
              <a:t>金融</a:t>
            </a:r>
            <a:endPar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icrosoft Himalaya" pitchFamily="2" charset="0"/>
              <a:cs typeface="Arial" panose="020B0604020202020204" pitchFamily="34" charset="0"/>
              <a:sym typeface="Arial"/>
            </a:endParaRPr>
          </a:p>
        </p:txBody>
      </p:sp>
      <p:sp>
        <p:nvSpPr>
          <p:cNvPr id="72" name="CuadroTexto 125">
            <a:extLst>
              <a:ext uri="{FF2B5EF4-FFF2-40B4-BE49-F238E27FC236}">
                <a16:creationId xmlns:a16="http://schemas.microsoft.com/office/drawing/2014/main" id="{7BE72262-389E-4E1A-A394-B64A5E5225D3}"/>
              </a:ext>
            </a:extLst>
          </p:cNvPr>
          <p:cNvSpPr txBox="1"/>
          <p:nvPr/>
        </p:nvSpPr>
        <p:spPr>
          <a:xfrm>
            <a:off x="7516351" y="1452485"/>
            <a:ext cx="1135815" cy="257950"/>
          </a:xfrm>
          <a:prstGeom prst="rect">
            <a:avLst/>
          </a:prstGeom>
          <a:solidFill>
            <a:srgbClr val="002060"/>
          </a:solidFill>
          <a:ln>
            <a:noFill/>
          </a:ln>
          <a:effectLst/>
        </p:spPr>
        <p:txBody>
          <a:bodyPr wrap="none">
            <a:noAutofit/>
          </a:bodyPr>
          <a:lstStyle>
            <a:defPPr>
              <a:defRPr lang="es-ES"/>
            </a:defPPr>
            <a:lvl1pPr algn="ctr" defTabSz="914120">
              <a:defRPr sz="1200" b="1" kern="0">
                <a:solidFill>
                  <a:schemeClr val="bg1"/>
                </a:solidFill>
                <a:latin typeface="Century Gothic" panose="020B0502020202020204" pitchFamily="34" charset="0"/>
                <a:ea typeface="Microsoft Himalaya" pitchFamily="2" charset="0"/>
                <a:cs typeface="Arial" panose="020B0604020202020204" pitchFamily="34" charset="0"/>
              </a:defRPr>
            </a:lvl1pPr>
          </a:lstStyle>
          <a:p>
            <a:pPr marL="0" marR="0" lvl="0" indent="0" algn="ctr" defTabSz="914120" rtl="0" eaLnBrk="1" fontAlgn="auto" latinLnBrk="0" hangingPunct="0">
              <a:lnSpc>
                <a:spcPct val="100000"/>
              </a:lnSpc>
              <a:spcBef>
                <a:spcPts val="0"/>
              </a:spcBef>
              <a:spcAft>
                <a:spcPts val="0"/>
              </a:spcAft>
              <a:buClrTx/>
              <a:buSzTx/>
              <a:buFontTx/>
              <a:buNone/>
              <a:tabLst/>
              <a:defRPr/>
            </a:pPr>
            <a:r>
              <a:rPr kumimoji="0" lang="ja-JP" altLang="es-ES" sz="1200" b="1" i="0" u="none" strike="noStrike" kern="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sym typeface="Arial"/>
              </a:rPr>
              <a:t>通信</a:t>
            </a:r>
            <a:endPar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icrosoft Himalaya" pitchFamily="2" charset="0"/>
              <a:cs typeface="Arial" panose="020B0604020202020204" pitchFamily="34" charset="0"/>
              <a:sym typeface="Arial"/>
            </a:endParaRPr>
          </a:p>
        </p:txBody>
      </p:sp>
      <p:sp>
        <p:nvSpPr>
          <p:cNvPr id="73" name="CuadroTexto 126">
            <a:extLst>
              <a:ext uri="{FF2B5EF4-FFF2-40B4-BE49-F238E27FC236}">
                <a16:creationId xmlns:a16="http://schemas.microsoft.com/office/drawing/2014/main" id="{221F5397-A9FD-4BE3-89D4-316598559551}"/>
              </a:ext>
            </a:extLst>
          </p:cNvPr>
          <p:cNvSpPr txBox="1"/>
          <p:nvPr/>
        </p:nvSpPr>
        <p:spPr>
          <a:xfrm>
            <a:off x="1896508" y="1452484"/>
            <a:ext cx="1261502" cy="257951"/>
          </a:xfrm>
          <a:prstGeom prst="rect">
            <a:avLst/>
          </a:prstGeom>
          <a:solidFill>
            <a:srgbClr val="002060"/>
          </a:solidFill>
          <a:ln>
            <a:noFill/>
          </a:ln>
          <a:effectLst/>
        </p:spPr>
        <p:txBody>
          <a:bodyPr wrap="none">
            <a:noAutofit/>
          </a:bodyPr>
          <a:lstStyle>
            <a:defPPr>
              <a:defRPr lang="es-ES"/>
            </a:defPPr>
            <a:lvl1pPr algn="ctr" defTabSz="914120">
              <a:defRPr sz="1200" b="1" kern="0">
                <a:solidFill>
                  <a:schemeClr val="bg1"/>
                </a:solidFill>
                <a:latin typeface="Century Gothic" panose="020B0502020202020204" pitchFamily="34" charset="0"/>
                <a:ea typeface="Microsoft Himalaya" pitchFamily="2" charset="0"/>
                <a:cs typeface="Arial" panose="020B0604020202020204" pitchFamily="34" charset="0"/>
              </a:defRPr>
            </a:lvl1pPr>
          </a:lstStyle>
          <a:p>
            <a:pPr marL="0" marR="0" lvl="0" indent="0" algn="ctr" defTabSz="914120" rtl="0" eaLnBrk="1" fontAlgn="auto" latinLnBrk="0" hangingPunct="0">
              <a:lnSpc>
                <a:spcPct val="100000"/>
              </a:lnSpc>
              <a:spcBef>
                <a:spcPts val="0"/>
              </a:spcBef>
              <a:spcAft>
                <a:spcPts val="0"/>
              </a:spcAft>
              <a:buClrTx/>
              <a:buSzTx/>
              <a:buFontTx/>
              <a:buNone/>
              <a:tabLst/>
              <a:defRPr/>
            </a:pPr>
            <a:r>
              <a:rPr kumimoji="0" lang="ja-JP" altLang="es-ES" sz="1200" b="1" i="0" u="none" strike="noStrike" kern="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sym typeface="Arial"/>
              </a:rPr>
              <a:t>公共</a:t>
            </a:r>
            <a:endPar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icrosoft Himalaya" pitchFamily="2" charset="0"/>
              <a:cs typeface="Arial" panose="020B0604020202020204" pitchFamily="34" charset="0"/>
              <a:sym typeface="Arial"/>
            </a:endParaRPr>
          </a:p>
        </p:txBody>
      </p:sp>
      <p:pic>
        <p:nvPicPr>
          <p:cNvPr id="74" name="Imagen 127">
            <a:extLst>
              <a:ext uri="{FF2B5EF4-FFF2-40B4-BE49-F238E27FC236}">
                <a16:creationId xmlns:a16="http://schemas.microsoft.com/office/drawing/2014/main" id="{56C15FAF-C5B1-4A3E-8753-7ABB766C58B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30658" b="33064"/>
          <a:stretch/>
        </p:blipFill>
        <p:spPr>
          <a:xfrm>
            <a:off x="6454040" y="3857258"/>
            <a:ext cx="818300" cy="314568"/>
          </a:xfrm>
          <a:prstGeom prst="rect">
            <a:avLst/>
          </a:prstGeom>
        </p:spPr>
      </p:pic>
      <p:pic>
        <p:nvPicPr>
          <p:cNvPr id="75" name="Imagen 128">
            <a:extLst>
              <a:ext uri="{FF2B5EF4-FFF2-40B4-BE49-F238E27FC236}">
                <a16:creationId xmlns:a16="http://schemas.microsoft.com/office/drawing/2014/main" id="{916EC951-E2AD-4387-877A-99E37C6F817E}"/>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15678" y="3033542"/>
            <a:ext cx="1084555" cy="153254"/>
          </a:xfrm>
          <a:prstGeom prst="rect">
            <a:avLst/>
          </a:prstGeom>
        </p:spPr>
      </p:pic>
      <p:pic>
        <p:nvPicPr>
          <p:cNvPr id="76" name="Imagen 129">
            <a:extLst>
              <a:ext uri="{FF2B5EF4-FFF2-40B4-BE49-F238E27FC236}">
                <a16:creationId xmlns:a16="http://schemas.microsoft.com/office/drawing/2014/main" id="{91AB4A14-15B0-444C-85BC-255E9171684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01788" y="3164978"/>
            <a:ext cx="747310" cy="715864"/>
          </a:xfrm>
          <a:prstGeom prst="rect">
            <a:avLst/>
          </a:prstGeom>
        </p:spPr>
      </p:pic>
      <p:pic>
        <p:nvPicPr>
          <p:cNvPr id="77" name="Imagen 130">
            <a:extLst>
              <a:ext uri="{FF2B5EF4-FFF2-40B4-BE49-F238E27FC236}">
                <a16:creationId xmlns:a16="http://schemas.microsoft.com/office/drawing/2014/main" id="{56600A30-54B9-47EA-86DD-A9C979DE6CC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80991" y="4286436"/>
            <a:ext cx="656019" cy="366713"/>
          </a:xfrm>
          <a:prstGeom prst="rect">
            <a:avLst/>
          </a:prstGeom>
        </p:spPr>
      </p:pic>
      <p:pic>
        <p:nvPicPr>
          <p:cNvPr id="78" name="Imagen 131">
            <a:extLst>
              <a:ext uri="{FF2B5EF4-FFF2-40B4-BE49-F238E27FC236}">
                <a16:creationId xmlns:a16="http://schemas.microsoft.com/office/drawing/2014/main" id="{83062802-BE79-4BB6-A7B8-EBE66E38465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82618" y="4783563"/>
            <a:ext cx="793200" cy="347200"/>
          </a:xfrm>
          <a:prstGeom prst="rect">
            <a:avLst/>
          </a:prstGeom>
        </p:spPr>
      </p:pic>
      <p:pic>
        <p:nvPicPr>
          <p:cNvPr id="79" name="Imagen 132">
            <a:extLst>
              <a:ext uri="{FF2B5EF4-FFF2-40B4-BE49-F238E27FC236}">
                <a16:creationId xmlns:a16="http://schemas.microsoft.com/office/drawing/2014/main" id="{1B5BEF05-D86D-4999-A73E-9D2D4DC96EF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t="20189" b="32704"/>
          <a:stretch/>
        </p:blipFill>
        <p:spPr>
          <a:xfrm>
            <a:off x="4716650" y="1878072"/>
            <a:ext cx="1570277" cy="442703"/>
          </a:xfrm>
          <a:prstGeom prst="rect">
            <a:avLst/>
          </a:prstGeom>
        </p:spPr>
      </p:pic>
      <p:pic>
        <p:nvPicPr>
          <p:cNvPr id="80" name="Imagen 133">
            <a:extLst>
              <a:ext uri="{FF2B5EF4-FFF2-40B4-BE49-F238E27FC236}">
                <a16:creationId xmlns:a16="http://schemas.microsoft.com/office/drawing/2014/main" id="{62B126DB-3410-43BE-B6B5-C9621A139EDB}"/>
              </a:ext>
            </a:extLst>
          </p:cNvPr>
          <p:cNvPicPr>
            <a:picLocks noChangeAspect="1"/>
          </p:cNvPicPr>
          <p:nvPr/>
        </p:nvPicPr>
        <p:blipFill rotWithShape="1">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885126" y="2459858"/>
            <a:ext cx="1246718" cy="327457"/>
          </a:xfrm>
          <a:prstGeom prst="rect">
            <a:avLst/>
          </a:prstGeom>
        </p:spPr>
      </p:pic>
      <p:pic>
        <p:nvPicPr>
          <p:cNvPr id="81" name="Picture 272" descr="https://upload.wikimedia.org/wikipedia/commons/thumb/2/21/Zurich_Logo_new.svg/1280px-Zurich_Logo_new.svg.png">
            <a:extLst>
              <a:ext uri="{FF2B5EF4-FFF2-40B4-BE49-F238E27FC236}">
                <a16:creationId xmlns:a16="http://schemas.microsoft.com/office/drawing/2014/main" id="{0A90A415-1A92-43E0-A859-D5D31324FBFE}"/>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b="5951"/>
          <a:stretch/>
        </p:blipFill>
        <p:spPr bwMode="auto">
          <a:xfrm>
            <a:off x="4743519" y="2877100"/>
            <a:ext cx="893491" cy="576680"/>
          </a:xfrm>
          <a:prstGeom prst="rect">
            <a:avLst/>
          </a:prstGeom>
          <a:noFill/>
          <a:extLst>
            <a:ext uri="{909E8E84-426E-40DD-AFC4-6F175D3DCCD1}">
              <a14:hiddenFill xmlns:a14="http://schemas.microsoft.com/office/drawing/2010/main">
                <a:solidFill>
                  <a:srgbClr val="FFFFFF"/>
                </a:solidFill>
              </a14:hiddenFill>
            </a:ext>
          </a:extLst>
        </p:spPr>
      </p:pic>
      <p:pic>
        <p:nvPicPr>
          <p:cNvPr id="82" name="Imagen 2">
            <a:extLst>
              <a:ext uri="{FF2B5EF4-FFF2-40B4-BE49-F238E27FC236}">
                <a16:creationId xmlns:a16="http://schemas.microsoft.com/office/drawing/2014/main" id="{6C13EEFF-2C5D-4A84-95C8-3C2953A258B8}"/>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675524" y="1880143"/>
            <a:ext cx="1047015" cy="308603"/>
          </a:xfrm>
          <a:prstGeom prst="rect">
            <a:avLst/>
          </a:prstGeom>
        </p:spPr>
      </p:pic>
      <p:pic>
        <p:nvPicPr>
          <p:cNvPr id="85" name="Imagen 93">
            <a:extLst>
              <a:ext uri="{FF2B5EF4-FFF2-40B4-BE49-F238E27FC236}">
                <a16:creationId xmlns:a16="http://schemas.microsoft.com/office/drawing/2014/main" id="{01A3D03B-9DFC-4874-AA48-A71112CD31E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53718" y="1890387"/>
            <a:ext cx="1276844" cy="295286"/>
          </a:xfrm>
          <a:prstGeom prst="rect">
            <a:avLst/>
          </a:prstGeom>
        </p:spPr>
      </p:pic>
      <p:pic>
        <p:nvPicPr>
          <p:cNvPr id="86" name="Imagen 145">
            <a:extLst>
              <a:ext uri="{FF2B5EF4-FFF2-40B4-BE49-F238E27FC236}">
                <a16:creationId xmlns:a16="http://schemas.microsoft.com/office/drawing/2014/main" id="{EFD00397-2343-4C1A-8AB2-038A4EC699E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426689" y="3692051"/>
            <a:ext cx="967287" cy="251531"/>
          </a:xfrm>
          <a:prstGeom prst="rect">
            <a:avLst/>
          </a:prstGeom>
        </p:spPr>
      </p:pic>
      <p:pic>
        <p:nvPicPr>
          <p:cNvPr id="87" name="Imagen 146">
            <a:extLst>
              <a:ext uri="{FF2B5EF4-FFF2-40B4-BE49-F238E27FC236}">
                <a16:creationId xmlns:a16="http://schemas.microsoft.com/office/drawing/2014/main" id="{3319E401-2E95-4E8B-898C-0661A5357032}"/>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438168" y="2886172"/>
            <a:ext cx="902876" cy="631805"/>
          </a:xfrm>
          <a:prstGeom prst="rect">
            <a:avLst/>
          </a:prstGeom>
        </p:spPr>
      </p:pic>
      <p:pic>
        <p:nvPicPr>
          <p:cNvPr id="88" name="Picture 8" descr="Resultado de imagen de giss gerencia seguridad social">
            <a:extLst>
              <a:ext uri="{FF2B5EF4-FFF2-40B4-BE49-F238E27FC236}">
                <a16:creationId xmlns:a16="http://schemas.microsoft.com/office/drawing/2014/main" id="{3184B55E-12AB-45B0-A976-7A0C5C069B08}"/>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149610" y="3790314"/>
            <a:ext cx="839388" cy="624333"/>
          </a:xfrm>
          <a:prstGeom prst="rect">
            <a:avLst/>
          </a:prstGeom>
          <a:noFill/>
          <a:extLst>
            <a:ext uri="{909E8E84-426E-40DD-AFC4-6F175D3DCCD1}">
              <a14:hiddenFill xmlns:a14="http://schemas.microsoft.com/office/drawing/2010/main">
                <a:solidFill>
                  <a:srgbClr val="FFFFFF"/>
                </a:solidFill>
              </a14:hiddenFill>
            </a:ext>
          </a:extLst>
        </p:spPr>
      </p:pic>
      <p:pic>
        <p:nvPicPr>
          <p:cNvPr id="89" name="Imagen 149">
            <a:extLst>
              <a:ext uri="{FF2B5EF4-FFF2-40B4-BE49-F238E27FC236}">
                <a16:creationId xmlns:a16="http://schemas.microsoft.com/office/drawing/2014/main" id="{16897428-C471-4C74-9E06-6CCAAA5FFA14}"/>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128002" y="4635905"/>
            <a:ext cx="899674" cy="557644"/>
          </a:xfrm>
          <a:prstGeom prst="rect">
            <a:avLst/>
          </a:prstGeom>
        </p:spPr>
      </p:pic>
      <p:pic>
        <p:nvPicPr>
          <p:cNvPr id="90" name="Imagen 150">
            <a:extLst>
              <a:ext uri="{FF2B5EF4-FFF2-40B4-BE49-F238E27FC236}">
                <a16:creationId xmlns:a16="http://schemas.microsoft.com/office/drawing/2014/main" id="{D43C8F65-A63E-4C4F-AFE8-8D1572034A99}"/>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809354" y="1986702"/>
            <a:ext cx="477512" cy="457418"/>
          </a:xfrm>
          <a:prstGeom prst="rect">
            <a:avLst/>
          </a:prstGeom>
        </p:spPr>
      </p:pic>
      <p:pic>
        <p:nvPicPr>
          <p:cNvPr id="91" name="Imagen 151">
            <a:extLst>
              <a:ext uri="{FF2B5EF4-FFF2-40B4-BE49-F238E27FC236}">
                <a16:creationId xmlns:a16="http://schemas.microsoft.com/office/drawing/2014/main" id="{BC6CFC2C-65E3-4D1C-A29B-DEEF44461E87}"/>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630611" y="2655084"/>
            <a:ext cx="906879" cy="412128"/>
          </a:xfrm>
          <a:prstGeom prst="rect">
            <a:avLst/>
          </a:prstGeom>
        </p:spPr>
      </p:pic>
      <p:pic>
        <p:nvPicPr>
          <p:cNvPr id="92" name="Imagen 155">
            <a:extLst>
              <a:ext uri="{FF2B5EF4-FFF2-40B4-BE49-F238E27FC236}">
                <a16:creationId xmlns:a16="http://schemas.microsoft.com/office/drawing/2014/main" id="{A0F30D5A-83AF-4D45-B08C-59C7A5197200}"/>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360467" y="4401426"/>
            <a:ext cx="1084718" cy="321887"/>
          </a:xfrm>
          <a:prstGeom prst="rect">
            <a:avLst/>
          </a:prstGeom>
        </p:spPr>
      </p:pic>
      <p:pic>
        <p:nvPicPr>
          <p:cNvPr id="93" name="Imagen 156">
            <a:extLst>
              <a:ext uri="{FF2B5EF4-FFF2-40B4-BE49-F238E27FC236}">
                <a16:creationId xmlns:a16="http://schemas.microsoft.com/office/drawing/2014/main" id="{7518EF59-9ABB-43AA-8A2A-6933FB3F106B}"/>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6344240" y="4944073"/>
            <a:ext cx="1026213" cy="272493"/>
          </a:xfrm>
          <a:prstGeom prst="rect">
            <a:avLst/>
          </a:prstGeom>
        </p:spPr>
      </p:pic>
      <p:pic>
        <p:nvPicPr>
          <p:cNvPr id="94" name="Imagen 1">
            <a:extLst>
              <a:ext uri="{FF2B5EF4-FFF2-40B4-BE49-F238E27FC236}">
                <a16:creationId xmlns:a16="http://schemas.microsoft.com/office/drawing/2014/main" id="{08ECC821-018C-4FE7-B527-EF80009EAD8F}"/>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7660828" y="3250577"/>
            <a:ext cx="707716" cy="415800"/>
          </a:xfrm>
          <a:prstGeom prst="rect">
            <a:avLst/>
          </a:prstGeom>
        </p:spPr>
      </p:pic>
      <p:pic>
        <p:nvPicPr>
          <p:cNvPr id="95" name="Imagen 94">
            <a:extLst>
              <a:ext uri="{FF2B5EF4-FFF2-40B4-BE49-F238E27FC236}">
                <a16:creationId xmlns:a16="http://schemas.microsoft.com/office/drawing/2014/main" id="{9B96A732-E6F5-40EC-8607-A12157C00D9A}"/>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7577984" y="3824561"/>
            <a:ext cx="855712" cy="344276"/>
          </a:xfrm>
          <a:prstGeom prst="rect">
            <a:avLst/>
          </a:prstGeom>
        </p:spPr>
      </p:pic>
      <p:pic>
        <p:nvPicPr>
          <p:cNvPr id="96" name="Imagen 95">
            <a:extLst>
              <a:ext uri="{FF2B5EF4-FFF2-40B4-BE49-F238E27FC236}">
                <a16:creationId xmlns:a16="http://schemas.microsoft.com/office/drawing/2014/main" id="{DAF0F6D0-7A0B-45D9-A1C1-60D499A733AC}"/>
              </a:ext>
            </a:extLst>
          </p:cNvPr>
          <p:cNvPicPr>
            <a:picLocks noChangeAspect="1"/>
          </p:cNvPicPr>
          <p:nvPr/>
        </p:nvPicPr>
        <p:blipFill>
          <a:blip r:embed="rId25"/>
          <a:stretch>
            <a:fillRect/>
          </a:stretch>
        </p:blipFill>
        <p:spPr>
          <a:xfrm>
            <a:off x="3527003" y="3911314"/>
            <a:ext cx="752350" cy="752350"/>
          </a:xfrm>
          <a:prstGeom prst="rect">
            <a:avLst/>
          </a:prstGeom>
        </p:spPr>
      </p:pic>
      <p:pic>
        <p:nvPicPr>
          <p:cNvPr id="97" name="Imagen 96">
            <a:extLst>
              <a:ext uri="{FF2B5EF4-FFF2-40B4-BE49-F238E27FC236}">
                <a16:creationId xmlns:a16="http://schemas.microsoft.com/office/drawing/2014/main" id="{B9297B2C-0D2C-4FF2-9C5F-347E7CEEA99F}"/>
              </a:ext>
            </a:extLst>
          </p:cNvPr>
          <p:cNvPicPr>
            <a:picLocks noChangeAspect="1"/>
          </p:cNvPicPr>
          <p:nvPr/>
        </p:nvPicPr>
        <p:blipFill>
          <a:blip r:embed="rId26"/>
          <a:stretch>
            <a:fillRect/>
          </a:stretch>
        </p:blipFill>
        <p:spPr>
          <a:xfrm>
            <a:off x="3477527" y="5719119"/>
            <a:ext cx="899264" cy="357136"/>
          </a:xfrm>
          <a:prstGeom prst="rect">
            <a:avLst/>
          </a:prstGeom>
        </p:spPr>
      </p:pic>
      <p:pic>
        <p:nvPicPr>
          <p:cNvPr id="98" name="Imagen 97">
            <a:extLst>
              <a:ext uri="{FF2B5EF4-FFF2-40B4-BE49-F238E27FC236}">
                <a16:creationId xmlns:a16="http://schemas.microsoft.com/office/drawing/2014/main" id="{6DE7319C-CECE-4C6D-92EB-59185EBEAC01}"/>
              </a:ext>
            </a:extLst>
          </p:cNvPr>
          <p:cNvPicPr>
            <a:picLocks noChangeAspect="1"/>
          </p:cNvPicPr>
          <p:nvPr/>
        </p:nvPicPr>
        <p:blipFill rotWithShape="1">
          <a:blip r:embed="rId27"/>
          <a:srcRect t="17028" b="17028"/>
          <a:stretch/>
        </p:blipFill>
        <p:spPr>
          <a:xfrm>
            <a:off x="3457200" y="5119316"/>
            <a:ext cx="1026958" cy="458926"/>
          </a:xfrm>
          <a:prstGeom prst="rect">
            <a:avLst/>
          </a:prstGeom>
        </p:spPr>
      </p:pic>
      <p:pic>
        <p:nvPicPr>
          <p:cNvPr id="99" name="Imagen 98">
            <a:extLst>
              <a:ext uri="{FF2B5EF4-FFF2-40B4-BE49-F238E27FC236}">
                <a16:creationId xmlns:a16="http://schemas.microsoft.com/office/drawing/2014/main" id="{36C401BA-792F-46D4-A61B-AE8610B55158}"/>
              </a:ext>
            </a:extLst>
          </p:cNvPr>
          <p:cNvPicPr>
            <a:picLocks noChangeAspect="1"/>
          </p:cNvPicPr>
          <p:nvPr/>
        </p:nvPicPr>
        <p:blipFill>
          <a:blip r:embed="rId28"/>
          <a:stretch>
            <a:fillRect/>
          </a:stretch>
        </p:blipFill>
        <p:spPr>
          <a:xfrm>
            <a:off x="5327623" y="5184884"/>
            <a:ext cx="641562" cy="627429"/>
          </a:xfrm>
          <a:prstGeom prst="rect">
            <a:avLst/>
          </a:prstGeom>
        </p:spPr>
      </p:pic>
      <p:pic>
        <p:nvPicPr>
          <p:cNvPr id="100" name="Imagen 99">
            <a:extLst>
              <a:ext uri="{FF2B5EF4-FFF2-40B4-BE49-F238E27FC236}">
                <a16:creationId xmlns:a16="http://schemas.microsoft.com/office/drawing/2014/main" id="{6A2B12A1-5139-4D02-840E-921A22E91AFC}"/>
              </a:ext>
            </a:extLst>
          </p:cNvPr>
          <p:cNvPicPr>
            <a:picLocks noChangeAspect="1"/>
          </p:cNvPicPr>
          <p:nvPr/>
        </p:nvPicPr>
        <p:blipFill>
          <a:blip r:embed="rId29"/>
          <a:stretch>
            <a:fillRect/>
          </a:stretch>
        </p:blipFill>
        <p:spPr>
          <a:xfrm>
            <a:off x="4966798" y="5941950"/>
            <a:ext cx="700725" cy="268611"/>
          </a:xfrm>
          <a:prstGeom prst="rect">
            <a:avLst/>
          </a:prstGeom>
        </p:spPr>
      </p:pic>
      <p:pic>
        <p:nvPicPr>
          <p:cNvPr id="101" name="Imagen 100">
            <a:extLst>
              <a:ext uri="{FF2B5EF4-FFF2-40B4-BE49-F238E27FC236}">
                <a16:creationId xmlns:a16="http://schemas.microsoft.com/office/drawing/2014/main" id="{82BBE8E5-DB9E-4614-A772-6F36616D37A0}"/>
              </a:ext>
            </a:extLst>
          </p:cNvPr>
          <p:cNvPicPr>
            <a:picLocks noChangeAspect="1"/>
          </p:cNvPicPr>
          <p:nvPr/>
        </p:nvPicPr>
        <p:blipFill>
          <a:blip r:embed="rId30"/>
          <a:stretch>
            <a:fillRect/>
          </a:stretch>
        </p:blipFill>
        <p:spPr>
          <a:xfrm>
            <a:off x="1185901" y="6003172"/>
            <a:ext cx="668832" cy="374546"/>
          </a:xfrm>
          <a:prstGeom prst="rect">
            <a:avLst/>
          </a:prstGeom>
        </p:spPr>
      </p:pic>
      <p:pic>
        <p:nvPicPr>
          <p:cNvPr id="102" name="Imagen 101">
            <a:extLst>
              <a:ext uri="{FF2B5EF4-FFF2-40B4-BE49-F238E27FC236}">
                <a16:creationId xmlns:a16="http://schemas.microsoft.com/office/drawing/2014/main" id="{38C82957-93D0-4BC1-8FC9-81DB8A337BED}"/>
              </a:ext>
            </a:extLst>
          </p:cNvPr>
          <p:cNvPicPr>
            <a:picLocks noChangeAspect="1"/>
          </p:cNvPicPr>
          <p:nvPr/>
        </p:nvPicPr>
        <p:blipFill>
          <a:blip r:embed="rId31"/>
          <a:stretch>
            <a:fillRect/>
          </a:stretch>
        </p:blipFill>
        <p:spPr>
          <a:xfrm>
            <a:off x="4734005" y="5204550"/>
            <a:ext cx="683954" cy="683954"/>
          </a:xfrm>
          <a:prstGeom prst="rect">
            <a:avLst/>
          </a:prstGeom>
        </p:spPr>
      </p:pic>
      <p:pic>
        <p:nvPicPr>
          <p:cNvPr id="103" name="Imagen 102">
            <a:extLst>
              <a:ext uri="{FF2B5EF4-FFF2-40B4-BE49-F238E27FC236}">
                <a16:creationId xmlns:a16="http://schemas.microsoft.com/office/drawing/2014/main" id="{C07712E5-A100-4738-A514-C52974377193}"/>
              </a:ext>
            </a:extLst>
          </p:cNvPr>
          <p:cNvPicPr>
            <a:picLocks noChangeAspect="1"/>
          </p:cNvPicPr>
          <p:nvPr/>
        </p:nvPicPr>
        <p:blipFill rotWithShape="1">
          <a:blip r:embed="rId32"/>
          <a:srcRect t="30520" b="30520"/>
          <a:stretch/>
        </p:blipFill>
        <p:spPr>
          <a:xfrm>
            <a:off x="641541" y="5031226"/>
            <a:ext cx="769450" cy="299785"/>
          </a:xfrm>
          <a:prstGeom prst="rect">
            <a:avLst/>
          </a:prstGeom>
        </p:spPr>
      </p:pic>
      <p:pic>
        <p:nvPicPr>
          <p:cNvPr id="104" name="Imagen 103">
            <a:extLst>
              <a:ext uri="{FF2B5EF4-FFF2-40B4-BE49-F238E27FC236}">
                <a16:creationId xmlns:a16="http://schemas.microsoft.com/office/drawing/2014/main" id="{B3103B77-12B2-4FAC-81EE-FB8A2DB1C5C5}"/>
              </a:ext>
            </a:extLst>
          </p:cNvPr>
          <p:cNvPicPr>
            <a:picLocks noChangeAspect="1"/>
          </p:cNvPicPr>
          <p:nvPr/>
        </p:nvPicPr>
        <p:blipFill>
          <a:blip r:embed="rId33"/>
          <a:stretch>
            <a:fillRect/>
          </a:stretch>
        </p:blipFill>
        <p:spPr>
          <a:xfrm>
            <a:off x="6494260" y="5361176"/>
            <a:ext cx="860948" cy="218133"/>
          </a:xfrm>
          <a:prstGeom prst="rect">
            <a:avLst/>
          </a:prstGeom>
        </p:spPr>
      </p:pic>
      <p:pic>
        <p:nvPicPr>
          <p:cNvPr id="105" name="Imagen 104">
            <a:extLst>
              <a:ext uri="{FF2B5EF4-FFF2-40B4-BE49-F238E27FC236}">
                <a16:creationId xmlns:a16="http://schemas.microsoft.com/office/drawing/2014/main" id="{442D2772-D5F0-4743-9959-8C7FAC0381EC}"/>
              </a:ext>
            </a:extLst>
          </p:cNvPr>
          <p:cNvPicPr>
            <a:picLocks noChangeAspect="1"/>
          </p:cNvPicPr>
          <p:nvPr/>
        </p:nvPicPr>
        <p:blipFill rotWithShape="1">
          <a:blip r:embed="rId34"/>
          <a:srcRect t="20770" b="20770"/>
          <a:stretch/>
        </p:blipFill>
        <p:spPr>
          <a:xfrm>
            <a:off x="4688338" y="3680306"/>
            <a:ext cx="910344" cy="532194"/>
          </a:xfrm>
          <a:prstGeom prst="rect">
            <a:avLst/>
          </a:prstGeom>
        </p:spPr>
      </p:pic>
      <p:pic>
        <p:nvPicPr>
          <p:cNvPr id="106" name="Imagen 105">
            <a:extLst>
              <a:ext uri="{FF2B5EF4-FFF2-40B4-BE49-F238E27FC236}">
                <a16:creationId xmlns:a16="http://schemas.microsoft.com/office/drawing/2014/main" id="{A8E2D3E4-270A-42AB-84E7-E09583C2FDE9}"/>
              </a:ext>
            </a:extLst>
          </p:cNvPr>
          <p:cNvPicPr>
            <a:picLocks noChangeAspect="1"/>
          </p:cNvPicPr>
          <p:nvPr/>
        </p:nvPicPr>
        <p:blipFill>
          <a:blip r:embed="rId35"/>
          <a:stretch>
            <a:fillRect/>
          </a:stretch>
        </p:blipFill>
        <p:spPr>
          <a:xfrm>
            <a:off x="7632573" y="4294289"/>
            <a:ext cx="878320" cy="214273"/>
          </a:xfrm>
          <a:prstGeom prst="rect">
            <a:avLst/>
          </a:prstGeom>
        </p:spPr>
      </p:pic>
      <p:pic>
        <p:nvPicPr>
          <p:cNvPr id="107" name="Imagen 106">
            <a:extLst>
              <a:ext uri="{FF2B5EF4-FFF2-40B4-BE49-F238E27FC236}">
                <a16:creationId xmlns:a16="http://schemas.microsoft.com/office/drawing/2014/main" id="{55A8FFA9-6840-4199-A797-D02864156EC3}"/>
              </a:ext>
            </a:extLst>
          </p:cNvPr>
          <p:cNvPicPr>
            <a:picLocks noChangeAspect="1"/>
          </p:cNvPicPr>
          <p:nvPr/>
        </p:nvPicPr>
        <p:blipFill>
          <a:blip r:embed="rId36"/>
          <a:stretch>
            <a:fillRect/>
          </a:stretch>
        </p:blipFill>
        <p:spPr>
          <a:xfrm>
            <a:off x="7667570" y="4649419"/>
            <a:ext cx="857222" cy="319998"/>
          </a:xfrm>
          <a:prstGeom prst="rect">
            <a:avLst/>
          </a:prstGeom>
        </p:spPr>
      </p:pic>
      <p:pic>
        <p:nvPicPr>
          <p:cNvPr id="108" name="Picture 2" descr="Resultado de imagen de altan redes logo">
            <a:extLst>
              <a:ext uri="{FF2B5EF4-FFF2-40B4-BE49-F238E27FC236}">
                <a16:creationId xmlns:a16="http://schemas.microsoft.com/office/drawing/2014/main" id="{9764F3A6-0AA1-4587-8AE7-4697BD9F861A}"/>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t="23989" b="23989"/>
          <a:stretch/>
        </p:blipFill>
        <p:spPr bwMode="auto">
          <a:xfrm>
            <a:off x="7577771" y="5090981"/>
            <a:ext cx="1060739" cy="551817"/>
          </a:xfrm>
          <a:prstGeom prst="rect">
            <a:avLst/>
          </a:prstGeom>
          <a:noFill/>
          <a:extLst>
            <a:ext uri="{909E8E84-426E-40DD-AFC4-6F175D3DCCD1}">
              <a14:hiddenFill xmlns:a14="http://schemas.microsoft.com/office/drawing/2010/main">
                <a:solidFill>
                  <a:srgbClr val="FFFFFF"/>
                </a:solidFill>
              </a14:hiddenFill>
            </a:ext>
          </a:extLst>
        </p:spPr>
      </p:pic>
      <p:pic>
        <p:nvPicPr>
          <p:cNvPr id="109" name="Imagen 108">
            <a:extLst>
              <a:ext uri="{FF2B5EF4-FFF2-40B4-BE49-F238E27FC236}">
                <a16:creationId xmlns:a16="http://schemas.microsoft.com/office/drawing/2014/main" id="{8EF946FE-D022-4ACC-BE92-8BFDE57E40BB}"/>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3354789" y="4435954"/>
            <a:ext cx="1290058" cy="752533"/>
          </a:xfrm>
          <a:prstGeom prst="rect">
            <a:avLst/>
          </a:prstGeom>
        </p:spPr>
      </p:pic>
      <p:pic>
        <p:nvPicPr>
          <p:cNvPr id="110" name="Imagen 109">
            <a:extLst>
              <a:ext uri="{FF2B5EF4-FFF2-40B4-BE49-F238E27FC236}">
                <a16:creationId xmlns:a16="http://schemas.microsoft.com/office/drawing/2014/main" id="{5419783E-7B83-483E-BC2A-86EC110091DF}"/>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3214392" y="2200076"/>
            <a:ext cx="1449133" cy="757690"/>
          </a:xfrm>
          <a:prstGeom prst="rect">
            <a:avLst/>
          </a:prstGeom>
        </p:spPr>
      </p:pic>
      <p:pic>
        <p:nvPicPr>
          <p:cNvPr id="111" name="Imagen 110">
            <a:extLst>
              <a:ext uri="{FF2B5EF4-FFF2-40B4-BE49-F238E27FC236}">
                <a16:creationId xmlns:a16="http://schemas.microsoft.com/office/drawing/2014/main" id="{B77B3C6F-E76B-40E3-86CB-D141E128F639}"/>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1897986" y="3014719"/>
            <a:ext cx="1206894" cy="634971"/>
          </a:xfrm>
          <a:prstGeom prst="rect">
            <a:avLst/>
          </a:prstGeom>
        </p:spPr>
      </p:pic>
      <p:pic>
        <p:nvPicPr>
          <p:cNvPr id="112" name="Imagen 111">
            <a:extLst>
              <a:ext uri="{FF2B5EF4-FFF2-40B4-BE49-F238E27FC236}">
                <a16:creationId xmlns:a16="http://schemas.microsoft.com/office/drawing/2014/main" id="{86DDB036-C706-4F5F-9873-B2E30F7BCB49}"/>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3995" y="2302920"/>
            <a:ext cx="1108432" cy="554217"/>
          </a:xfrm>
          <a:prstGeom prst="rect">
            <a:avLst/>
          </a:prstGeom>
        </p:spPr>
      </p:pic>
      <p:sp>
        <p:nvSpPr>
          <p:cNvPr id="113" name="27 Rectángulo">
            <a:extLst>
              <a:ext uri="{FF2B5EF4-FFF2-40B4-BE49-F238E27FC236}">
                <a16:creationId xmlns:a16="http://schemas.microsoft.com/office/drawing/2014/main" id="{EF1E8093-475A-4BE7-BA01-5686D0587AD5}"/>
              </a:ext>
            </a:extLst>
          </p:cNvPr>
          <p:cNvSpPr/>
          <p:nvPr/>
        </p:nvSpPr>
        <p:spPr>
          <a:xfrm>
            <a:off x="7516402" y="1806269"/>
            <a:ext cx="1135764" cy="4557706"/>
          </a:xfrm>
          <a:prstGeom prst="rect">
            <a:avLst/>
          </a:prstGeom>
          <a:solidFill>
            <a:sysClr val="window" lastClr="FFFFFF">
              <a:lumMod val="50000"/>
              <a:alpha val="6000"/>
            </a:sysClr>
          </a:solidFill>
          <a:ln w="9525" cap="flat" cmpd="sng" algn="ctr">
            <a:noFill/>
            <a:prstDash val="solid"/>
          </a:ln>
          <a:effectLst/>
        </p:spPr>
        <p:txBody>
          <a:bodyPr lIns="48000" rIns="48000"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333" b="0" i="0" u="none" strike="noStrike" kern="0" cap="none" spc="0" normalizeH="0" baseline="0" noProof="0">
              <a:ln>
                <a:noFill/>
              </a:ln>
              <a:solidFill>
                <a:prstClr val="black"/>
              </a:solidFill>
              <a:effectLst/>
              <a:uLnTx/>
              <a:uFillTx/>
              <a:latin typeface="Century Gothic"/>
              <a:cs typeface="Arial"/>
              <a:sym typeface="Arial"/>
            </a:endParaRPr>
          </a:p>
        </p:txBody>
      </p:sp>
      <p:sp>
        <p:nvSpPr>
          <p:cNvPr id="114" name="27 Rectángulo">
            <a:extLst>
              <a:ext uri="{FF2B5EF4-FFF2-40B4-BE49-F238E27FC236}">
                <a16:creationId xmlns:a16="http://schemas.microsoft.com/office/drawing/2014/main" id="{FEC06CF9-9292-426B-B715-0EF7E1740F88}"/>
              </a:ext>
            </a:extLst>
          </p:cNvPr>
          <p:cNvSpPr/>
          <p:nvPr/>
        </p:nvSpPr>
        <p:spPr>
          <a:xfrm>
            <a:off x="6253044" y="1806269"/>
            <a:ext cx="1185460" cy="4557706"/>
          </a:xfrm>
          <a:prstGeom prst="rect">
            <a:avLst/>
          </a:prstGeom>
          <a:solidFill>
            <a:sysClr val="window" lastClr="FFFFFF">
              <a:lumMod val="50000"/>
              <a:alpha val="6000"/>
            </a:sysClr>
          </a:solidFill>
          <a:ln w="9525" cap="flat" cmpd="sng" algn="ctr">
            <a:noFill/>
            <a:prstDash val="solid"/>
          </a:ln>
          <a:effectLst/>
        </p:spPr>
        <p:txBody>
          <a:bodyPr lIns="48000" rIns="48000"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333" b="0" i="0" u="none" strike="noStrike" kern="0" cap="none" spc="0" normalizeH="0" baseline="0" noProof="0">
              <a:ln>
                <a:noFill/>
              </a:ln>
              <a:solidFill>
                <a:prstClr val="black"/>
              </a:solidFill>
              <a:effectLst/>
              <a:uLnTx/>
              <a:uFillTx/>
              <a:latin typeface="Century Gothic"/>
              <a:cs typeface="Arial"/>
              <a:sym typeface="Arial"/>
            </a:endParaRPr>
          </a:p>
        </p:txBody>
      </p:sp>
      <p:sp>
        <p:nvSpPr>
          <p:cNvPr id="115" name="27 Rectángulo">
            <a:extLst>
              <a:ext uri="{FF2B5EF4-FFF2-40B4-BE49-F238E27FC236}">
                <a16:creationId xmlns:a16="http://schemas.microsoft.com/office/drawing/2014/main" id="{F103068D-305A-4EC5-9646-DCBEA144F17F}"/>
              </a:ext>
            </a:extLst>
          </p:cNvPr>
          <p:cNvSpPr/>
          <p:nvPr/>
        </p:nvSpPr>
        <p:spPr>
          <a:xfrm>
            <a:off x="4744160" y="1806484"/>
            <a:ext cx="1436733" cy="4557491"/>
          </a:xfrm>
          <a:prstGeom prst="rect">
            <a:avLst/>
          </a:prstGeom>
          <a:solidFill>
            <a:sysClr val="window" lastClr="FFFFFF">
              <a:lumMod val="50000"/>
              <a:alpha val="6000"/>
            </a:sysClr>
          </a:solidFill>
          <a:ln w="9525" cap="flat" cmpd="sng" algn="ctr">
            <a:noFill/>
            <a:prstDash val="solid"/>
          </a:ln>
          <a:effectLst/>
        </p:spPr>
        <p:txBody>
          <a:bodyPr lIns="48000" rIns="48000"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333" b="0" i="0" u="none" strike="noStrike" kern="0" cap="none" spc="0" normalizeH="0" baseline="0" noProof="0">
              <a:ln>
                <a:noFill/>
              </a:ln>
              <a:solidFill>
                <a:prstClr val="black"/>
              </a:solidFill>
              <a:effectLst/>
              <a:uLnTx/>
              <a:uFillTx/>
              <a:latin typeface="Century Gothic"/>
              <a:cs typeface="Arial"/>
              <a:sym typeface="Arial"/>
            </a:endParaRPr>
          </a:p>
        </p:txBody>
      </p:sp>
      <p:pic>
        <p:nvPicPr>
          <p:cNvPr id="116" name="Picture 2" descr="Técnicas Reunidas | Técnicas Reunidas"/>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626773" y="3099615"/>
            <a:ext cx="643635" cy="37009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4" descr="Hapag Lloyd AG - Bolsamanía.com"/>
          <p:cNvPicPr>
            <a:picLocks noChangeAspect="1" noChangeArrowheads="1"/>
          </p:cNvPicPr>
          <p:nvPr/>
        </p:nvPicPr>
        <p:blipFill rotWithShape="1">
          <a:blip r:embed="rId43" cstate="print">
            <a:extLst>
              <a:ext uri="{28A0092B-C50C-407E-A947-70E740481C1C}">
                <a14:useLocalDpi xmlns:a14="http://schemas.microsoft.com/office/drawing/2010/main" val="0"/>
              </a:ext>
            </a:extLst>
          </a:blip>
          <a:srcRect l="21235" t="31284" r="20900" b="33851"/>
          <a:stretch/>
        </p:blipFill>
        <p:spPr bwMode="auto">
          <a:xfrm>
            <a:off x="617526" y="4233598"/>
            <a:ext cx="1244225" cy="288344"/>
          </a:xfrm>
          <a:prstGeom prst="rect">
            <a:avLst/>
          </a:prstGeom>
          <a:noFill/>
          <a:extLst>
            <a:ext uri="{909E8E84-426E-40DD-AFC4-6F175D3DCCD1}">
              <a14:hiddenFill xmlns:a14="http://schemas.microsoft.com/office/drawing/2010/main">
                <a:solidFill>
                  <a:srgbClr val="FFFFFF"/>
                </a:solidFill>
              </a14:hiddenFill>
            </a:ext>
          </a:extLst>
        </p:spPr>
      </p:pic>
      <p:pic>
        <p:nvPicPr>
          <p:cNvPr id="118" name="Imagen 117"/>
          <p:cNvPicPr>
            <a:picLocks noChangeAspect="1"/>
          </p:cNvPicPr>
          <p:nvPr/>
        </p:nvPicPr>
        <p:blipFill rotWithShape="1">
          <a:blip r:embed="rId44"/>
          <a:srcRect t="31632" b="33461"/>
          <a:stretch/>
        </p:blipFill>
        <p:spPr>
          <a:xfrm>
            <a:off x="557046" y="3893245"/>
            <a:ext cx="1188979" cy="303185"/>
          </a:xfrm>
          <a:prstGeom prst="rect">
            <a:avLst/>
          </a:prstGeom>
        </p:spPr>
      </p:pic>
      <p:pic>
        <p:nvPicPr>
          <p:cNvPr id="119" name="Picture 7" descr="Archivo:Gestamp Logo.png - Wikipedia, la enciclopedia libre"/>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610806" y="4578622"/>
            <a:ext cx="1176446" cy="212503"/>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0" descr="Tras el logo de la Junta de Andalucía: un diseñador catalán y una  productora pata negra"/>
          <p:cNvPicPr>
            <a:picLocks noChangeAspect="1" noChangeArrowheads="1"/>
          </p:cNvPicPr>
          <p:nvPr/>
        </p:nvPicPr>
        <p:blipFill rotWithShape="1">
          <a:blip r:embed="rId46" cstate="print">
            <a:extLst>
              <a:ext uri="{28A0092B-C50C-407E-A947-70E740481C1C}">
                <a14:useLocalDpi xmlns:a14="http://schemas.microsoft.com/office/drawing/2010/main" val="0"/>
              </a:ext>
            </a:extLst>
          </a:blip>
          <a:srcRect l="25399" t="20254" r="23557" b="27181"/>
          <a:stretch/>
        </p:blipFill>
        <p:spPr bwMode="auto">
          <a:xfrm>
            <a:off x="2094945" y="5386480"/>
            <a:ext cx="860324" cy="498351"/>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File:UN Volunteers logo.svg - Wikimedia Commons"/>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2022894" y="6118085"/>
            <a:ext cx="1109889" cy="199433"/>
          </a:xfrm>
          <a:prstGeom prst="rect">
            <a:avLst/>
          </a:prstGeom>
          <a:noFill/>
          <a:extLst>
            <a:ext uri="{909E8E84-426E-40DD-AFC4-6F175D3DCCD1}">
              <a14:hiddenFill xmlns:a14="http://schemas.microsoft.com/office/drawing/2010/main">
                <a:solidFill>
                  <a:srgbClr val="FFFFFF"/>
                </a:solidFill>
              </a14:hiddenFill>
            </a:ext>
          </a:extLst>
        </p:spPr>
      </p:pic>
      <p:sp>
        <p:nvSpPr>
          <p:cNvPr id="122" name="27 Rectángulo">
            <a:extLst>
              <a:ext uri="{FF2B5EF4-FFF2-40B4-BE49-F238E27FC236}">
                <a16:creationId xmlns:a16="http://schemas.microsoft.com/office/drawing/2014/main" id="{A527A10B-508B-4216-B517-0D3A52226352}"/>
              </a:ext>
            </a:extLst>
          </p:cNvPr>
          <p:cNvSpPr/>
          <p:nvPr/>
        </p:nvSpPr>
        <p:spPr>
          <a:xfrm>
            <a:off x="1887362" y="1799830"/>
            <a:ext cx="1293442" cy="4557490"/>
          </a:xfrm>
          <a:prstGeom prst="rect">
            <a:avLst/>
          </a:prstGeom>
          <a:solidFill>
            <a:sysClr val="window" lastClr="FFFFFF">
              <a:lumMod val="50000"/>
              <a:alpha val="6000"/>
            </a:sysClr>
          </a:solidFill>
          <a:ln w="9525" cap="flat" cmpd="sng" algn="ctr">
            <a:noFill/>
            <a:prstDash val="solid"/>
          </a:ln>
          <a:effectLst/>
        </p:spPr>
        <p:txBody>
          <a:bodyPr lIns="48000" rIns="48000"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333" b="0" i="0" u="none" strike="noStrike" kern="0" cap="none" spc="0" normalizeH="0" baseline="0" noProof="0">
              <a:ln>
                <a:noFill/>
              </a:ln>
              <a:solidFill>
                <a:prstClr val="black"/>
              </a:solidFill>
              <a:effectLst/>
              <a:uLnTx/>
              <a:uFillTx/>
              <a:latin typeface="Century Gothic"/>
              <a:cs typeface="Arial"/>
              <a:sym typeface="Arial"/>
            </a:endParaRPr>
          </a:p>
        </p:txBody>
      </p:sp>
      <p:pic>
        <p:nvPicPr>
          <p:cNvPr id="123" name="Picture 15" descr="Acciona participan en la construcción de una carretera en Australia por 518  millones"/>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680657" y="3398750"/>
            <a:ext cx="777645" cy="437596"/>
          </a:xfrm>
          <a:prstGeom prst="rect">
            <a:avLst/>
          </a:prstGeom>
          <a:noFill/>
          <a:extLst>
            <a:ext uri="{909E8E84-426E-40DD-AFC4-6F175D3DCCD1}">
              <a14:hiddenFill xmlns:a14="http://schemas.microsoft.com/office/drawing/2010/main">
                <a:solidFill>
                  <a:srgbClr val="FFFFFF"/>
                </a:solidFill>
              </a14:hiddenFill>
            </a:ext>
          </a:extLst>
        </p:spPr>
      </p:pic>
      <p:sp>
        <p:nvSpPr>
          <p:cNvPr id="124" name="27 Rectángulo">
            <a:extLst>
              <a:ext uri="{FF2B5EF4-FFF2-40B4-BE49-F238E27FC236}">
                <a16:creationId xmlns:a16="http://schemas.microsoft.com/office/drawing/2014/main" id="{A527A10B-508B-4216-B517-0D3A52226352}"/>
              </a:ext>
            </a:extLst>
          </p:cNvPr>
          <p:cNvSpPr/>
          <p:nvPr/>
        </p:nvSpPr>
        <p:spPr>
          <a:xfrm>
            <a:off x="573764" y="1797193"/>
            <a:ext cx="1254020" cy="4557490"/>
          </a:xfrm>
          <a:prstGeom prst="rect">
            <a:avLst/>
          </a:prstGeom>
          <a:solidFill>
            <a:sysClr val="window" lastClr="FFFFFF">
              <a:lumMod val="50000"/>
              <a:alpha val="6000"/>
            </a:sysClr>
          </a:solidFill>
          <a:ln w="9525" cap="flat" cmpd="sng" algn="ctr">
            <a:noFill/>
            <a:prstDash val="solid"/>
          </a:ln>
          <a:effectLst/>
        </p:spPr>
        <p:txBody>
          <a:bodyPr lIns="48000" rIns="48000"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333" b="0" i="0" u="none" strike="noStrike" kern="0" cap="none" spc="0" normalizeH="0" baseline="0" noProof="0">
              <a:ln>
                <a:noFill/>
              </a:ln>
              <a:solidFill>
                <a:prstClr val="black"/>
              </a:solidFill>
              <a:effectLst/>
              <a:uLnTx/>
              <a:uFillTx/>
              <a:latin typeface="Century Gothic"/>
              <a:cs typeface="Arial"/>
              <a:sym typeface="Arial"/>
            </a:endParaRPr>
          </a:p>
        </p:txBody>
      </p:sp>
      <p:pic>
        <p:nvPicPr>
          <p:cNvPr id="125" name="Imagen 124" descr="Logotipo, nombre de la empresa&#10;&#10;Descripción generada automáticamente">
            <a:extLst>
              <a:ext uri="{FF2B5EF4-FFF2-40B4-BE49-F238E27FC236}">
                <a16:creationId xmlns:a16="http://schemas.microsoft.com/office/drawing/2014/main" id="{E4F0345A-51B4-4D6C-9599-0290036E34DF}"/>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1895924" y="1799830"/>
            <a:ext cx="1261502" cy="321600"/>
          </a:xfrm>
          <a:prstGeom prst="rect">
            <a:avLst/>
          </a:prstGeom>
        </p:spPr>
      </p:pic>
      <p:sp>
        <p:nvSpPr>
          <p:cNvPr id="126" name="27 Rectángulo">
            <a:extLst>
              <a:ext uri="{FF2B5EF4-FFF2-40B4-BE49-F238E27FC236}">
                <a16:creationId xmlns:a16="http://schemas.microsoft.com/office/drawing/2014/main" id="{3A8730AA-9D6A-4F3B-B9E8-EDFF4F06DE73}"/>
              </a:ext>
            </a:extLst>
          </p:cNvPr>
          <p:cNvSpPr/>
          <p:nvPr/>
        </p:nvSpPr>
        <p:spPr>
          <a:xfrm>
            <a:off x="3214393" y="1806484"/>
            <a:ext cx="1477368" cy="4557491"/>
          </a:xfrm>
          <a:prstGeom prst="rect">
            <a:avLst/>
          </a:prstGeom>
          <a:solidFill>
            <a:sysClr val="window" lastClr="FFFFFF">
              <a:lumMod val="50000"/>
              <a:alpha val="6000"/>
            </a:sysClr>
          </a:solidFill>
          <a:ln w="9525" cap="flat" cmpd="sng" algn="ctr">
            <a:noFill/>
            <a:prstDash val="solid"/>
          </a:ln>
          <a:effectLst/>
        </p:spPr>
        <p:txBody>
          <a:bodyPr lIns="48000" rIns="48000"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GB" sz="1333" b="0" i="0" u="none" strike="noStrike" kern="0" cap="none" spc="0" normalizeH="0" baseline="0" noProof="0">
              <a:ln>
                <a:noFill/>
              </a:ln>
              <a:solidFill>
                <a:prstClr val="black"/>
              </a:solidFill>
              <a:effectLst/>
              <a:uLnTx/>
              <a:uFillTx/>
              <a:latin typeface="Century Gothic"/>
              <a:cs typeface="Arial"/>
              <a:sym typeface="Arial"/>
            </a:endParaRPr>
          </a:p>
        </p:txBody>
      </p:sp>
      <p:pic>
        <p:nvPicPr>
          <p:cNvPr id="2" name="Imagen 1"/>
          <p:cNvPicPr>
            <a:picLocks noChangeAspect="1"/>
          </p:cNvPicPr>
          <p:nvPr/>
        </p:nvPicPr>
        <p:blipFill rotWithShape="1">
          <a:blip r:embed="rId50">
            <a:clrChange>
              <a:clrFrom>
                <a:srgbClr val="FFFFFF"/>
              </a:clrFrom>
              <a:clrTo>
                <a:srgbClr val="FFFFFF">
                  <a:alpha val="0"/>
                </a:srgbClr>
              </a:clrTo>
            </a:clrChange>
          </a:blip>
          <a:srcRect b="24257"/>
          <a:stretch/>
        </p:blipFill>
        <p:spPr>
          <a:xfrm>
            <a:off x="1003796" y="3017152"/>
            <a:ext cx="1031336" cy="497611"/>
          </a:xfrm>
          <a:prstGeom prst="rect">
            <a:avLst/>
          </a:prstGeom>
        </p:spPr>
      </p:pic>
      <p:pic>
        <p:nvPicPr>
          <p:cNvPr id="5" name="Imagen 4"/>
          <p:cNvPicPr>
            <a:picLocks noChangeAspect="1"/>
          </p:cNvPicPr>
          <p:nvPr/>
        </p:nvPicPr>
        <p:blipFill>
          <a:blip r:embed="rId51">
            <a:clrChange>
              <a:clrFrom>
                <a:srgbClr val="FFFFFF"/>
              </a:clrFrom>
              <a:clrTo>
                <a:srgbClr val="FFFFFF">
                  <a:alpha val="0"/>
                </a:srgbClr>
              </a:clrTo>
            </a:clrChange>
          </a:blip>
          <a:stretch>
            <a:fillRect/>
          </a:stretch>
        </p:blipFill>
        <p:spPr>
          <a:xfrm>
            <a:off x="758969" y="5382100"/>
            <a:ext cx="1038632" cy="307556"/>
          </a:xfrm>
          <a:prstGeom prst="rect">
            <a:avLst/>
          </a:prstGeom>
        </p:spPr>
      </p:pic>
      <p:pic>
        <p:nvPicPr>
          <p:cNvPr id="6" name="Imagen 5"/>
          <p:cNvPicPr>
            <a:picLocks noChangeAspect="1"/>
          </p:cNvPicPr>
          <p:nvPr/>
        </p:nvPicPr>
        <p:blipFill>
          <a:blip r:embed="rId52">
            <a:clrChange>
              <a:clrFrom>
                <a:srgbClr val="FFFFFF"/>
              </a:clrFrom>
              <a:clrTo>
                <a:srgbClr val="FFFFFF">
                  <a:alpha val="0"/>
                </a:srgbClr>
              </a:clrTo>
            </a:clrChange>
          </a:blip>
          <a:stretch>
            <a:fillRect/>
          </a:stretch>
        </p:blipFill>
        <p:spPr>
          <a:xfrm>
            <a:off x="1029627" y="2473354"/>
            <a:ext cx="960140" cy="487690"/>
          </a:xfrm>
          <a:prstGeom prst="rect">
            <a:avLst/>
          </a:prstGeom>
        </p:spPr>
      </p:pic>
      <p:pic>
        <p:nvPicPr>
          <p:cNvPr id="127" name="Picture 4" descr="ファイル:AGC Logo.svg - Wikipedia"/>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339191" y="3714731"/>
            <a:ext cx="485967" cy="16762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36"/>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525121" y="5781805"/>
            <a:ext cx="1169192" cy="177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 name="テキスト ボックス 208"/>
          <p:cNvSpPr txBox="1"/>
          <p:nvPr/>
        </p:nvSpPr>
        <p:spPr>
          <a:xfrm>
            <a:off x="264063" y="2266237"/>
            <a:ext cx="1608570" cy="477100"/>
          </a:xfrm>
          <a:prstGeom prst="rect">
            <a:avLst/>
          </a:prstGeom>
          <a:noFill/>
        </p:spPr>
        <p:txBody>
          <a:bodyPr wrap="square" lIns="0" rIns="0" rtlCol="0">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C00000"/>
                </a:solidFill>
                <a:effectLst/>
                <a:uLnTx/>
                <a:uFillTx/>
                <a:latin typeface="メイリオ" panose="020B0604030504040204" pitchFamily="50" charset="-128"/>
                <a:ea typeface="メイリオ" panose="020B0604030504040204" pitchFamily="50" charset="-128"/>
                <a:cs typeface="Helvetica"/>
              </a:rPr>
              <a:t>日本郵便</a:t>
            </a:r>
          </a:p>
        </p:txBody>
      </p:sp>
      <p:pic>
        <p:nvPicPr>
          <p:cNvPr id="7" name="Imagen 6"/>
          <p:cNvPicPr>
            <a:picLocks noChangeAspect="1"/>
          </p:cNvPicPr>
          <p:nvPr/>
        </p:nvPicPr>
        <p:blipFill>
          <a:blip r:embed="rId55">
            <a:clrChange>
              <a:clrFrom>
                <a:srgbClr val="FFFFFF"/>
              </a:clrFrom>
              <a:clrTo>
                <a:srgbClr val="FFFFFF">
                  <a:alpha val="0"/>
                </a:srgbClr>
              </a:clrTo>
            </a:clrChange>
          </a:blip>
          <a:stretch>
            <a:fillRect/>
          </a:stretch>
        </p:blipFill>
        <p:spPr>
          <a:xfrm>
            <a:off x="641541" y="6134095"/>
            <a:ext cx="574164" cy="114148"/>
          </a:xfrm>
          <a:prstGeom prst="rect">
            <a:avLst/>
          </a:prstGeom>
        </p:spPr>
      </p:pic>
      <p:pic>
        <p:nvPicPr>
          <p:cNvPr id="8" name="Imagen 7"/>
          <p:cNvPicPr>
            <a:picLocks noChangeAspect="1"/>
          </p:cNvPicPr>
          <p:nvPr/>
        </p:nvPicPr>
        <p:blipFill>
          <a:blip r:embed="rId56">
            <a:clrChange>
              <a:clrFrom>
                <a:srgbClr val="FFFFFF"/>
              </a:clrFrom>
              <a:clrTo>
                <a:srgbClr val="FFFFFF">
                  <a:alpha val="0"/>
                </a:srgbClr>
              </a:clrTo>
            </a:clrChange>
          </a:blip>
          <a:stretch>
            <a:fillRect/>
          </a:stretch>
        </p:blipFill>
        <p:spPr>
          <a:xfrm>
            <a:off x="1480377" y="4906363"/>
            <a:ext cx="317197" cy="442407"/>
          </a:xfrm>
          <a:prstGeom prst="rect">
            <a:avLst/>
          </a:prstGeom>
        </p:spPr>
      </p:pic>
      <p:pic>
        <p:nvPicPr>
          <p:cNvPr id="9" name="Imagen 8"/>
          <p:cNvPicPr>
            <a:picLocks noChangeAspect="1"/>
          </p:cNvPicPr>
          <p:nvPr/>
        </p:nvPicPr>
        <p:blipFill>
          <a:blip r:embed="rId57">
            <a:clrChange>
              <a:clrFrom>
                <a:srgbClr val="FFFFFF"/>
              </a:clrFrom>
              <a:clrTo>
                <a:srgbClr val="FFFFFF">
                  <a:alpha val="0"/>
                </a:srgbClr>
              </a:clrTo>
            </a:clrChange>
          </a:blip>
          <a:stretch>
            <a:fillRect/>
          </a:stretch>
        </p:blipFill>
        <p:spPr>
          <a:xfrm>
            <a:off x="6419466" y="5873273"/>
            <a:ext cx="902546" cy="270764"/>
          </a:xfrm>
          <a:prstGeom prst="rect">
            <a:avLst/>
          </a:prstGeom>
        </p:spPr>
      </p:pic>
      <p:pic>
        <p:nvPicPr>
          <p:cNvPr id="10" name="Imagen 9"/>
          <p:cNvPicPr>
            <a:picLocks noChangeAspect="1"/>
          </p:cNvPicPr>
          <p:nvPr/>
        </p:nvPicPr>
        <p:blipFill>
          <a:blip r:embed="rId58"/>
          <a:stretch>
            <a:fillRect/>
          </a:stretch>
        </p:blipFill>
        <p:spPr>
          <a:xfrm>
            <a:off x="736441" y="2609125"/>
            <a:ext cx="384363" cy="384363"/>
          </a:xfrm>
          <a:prstGeom prst="rect">
            <a:avLst/>
          </a:prstGeom>
        </p:spPr>
      </p:pic>
      <p:pic>
        <p:nvPicPr>
          <p:cNvPr id="11" name="Imagen 10"/>
          <p:cNvPicPr>
            <a:picLocks noChangeAspect="1"/>
          </p:cNvPicPr>
          <p:nvPr/>
        </p:nvPicPr>
        <p:blipFill>
          <a:blip r:embed="rId59">
            <a:clrChange>
              <a:clrFrom>
                <a:srgbClr val="FEFEFE"/>
              </a:clrFrom>
              <a:clrTo>
                <a:srgbClr val="FEFEFE">
                  <a:alpha val="0"/>
                </a:srgbClr>
              </a:clrTo>
            </a:clrChange>
          </a:blip>
          <a:stretch>
            <a:fillRect/>
          </a:stretch>
        </p:blipFill>
        <p:spPr>
          <a:xfrm>
            <a:off x="5470435" y="3892260"/>
            <a:ext cx="804059" cy="402030"/>
          </a:xfrm>
          <a:prstGeom prst="rect">
            <a:avLst/>
          </a:prstGeom>
        </p:spPr>
      </p:pic>
      <p:pic>
        <p:nvPicPr>
          <p:cNvPr id="12" name="Imagen 11"/>
          <p:cNvPicPr>
            <a:picLocks noChangeAspect="1"/>
          </p:cNvPicPr>
          <p:nvPr/>
        </p:nvPicPr>
        <p:blipFill>
          <a:blip r:embed="rId60">
            <a:clrChange>
              <a:clrFrom>
                <a:srgbClr val="FFFFFF"/>
              </a:clrFrom>
              <a:clrTo>
                <a:srgbClr val="FFFFFF">
                  <a:alpha val="0"/>
                </a:srgbClr>
              </a:clrTo>
            </a:clrChange>
          </a:blip>
          <a:stretch>
            <a:fillRect/>
          </a:stretch>
        </p:blipFill>
        <p:spPr>
          <a:xfrm>
            <a:off x="7803432" y="5684669"/>
            <a:ext cx="534367" cy="534367"/>
          </a:xfrm>
          <a:prstGeom prst="rect">
            <a:avLst/>
          </a:prstGeom>
        </p:spPr>
      </p:pic>
      <p:sp>
        <p:nvSpPr>
          <p:cNvPr id="83" name="Rectángulo 113">
            <a:extLst>
              <a:ext uri="{FF2B5EF4-FFF2-40B4-BE49-F238E27FC236}">
                <a16:creationId xmlns:a16="http://schemas.microsoft.com/office/drawing/2014/main" id="{2D77D88B-6A4C-427C-B822-D9E9902C1BE2}"/>
              </a:ext>
            </a:extLst>
          </p:cNvPr>
          <p:cNvSpPr/>
          <p:nvPr/>
        </p:nvSpPr>
        <p:spPr>
          <a:xfrm>
            <a:off x="8720726" y="1430561"/>
            <a:ext cx="3176634" cy="4980012"/>
          </a:xfrm>
          <a:prstGeom prst="rect">
            <a:avLst/>
          </a:prstGeom>
          <a:solidFill>
            <a:srgbClr val="002060"/>
          </a:solidFill>
          <a:ln w="12700" cap="flat">
            <a:noFill/>
            <a:prstDash val="solid"/>
            <a:miter lim="800000"/>
          </a:ln>
          <a:effectLst/>
          <a:sp3d/>
        </p:spPr>
        <p:txBody>
          <a:bodyPr rot="0" spcFirstLastPara="1" vertOverflow="overflow" horzOverflow="overflow" vert="horz" wrap="square" lIns="108000" tIns="45719" rIns="45719" bIns="45719" numCol="1" spcCol="38100" rtlCol="0"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ja-JP" altLang="es-ES" sz="1400" b="0" i="0" u="none" strike="noStrike" kern="0" cap="none" spc="0" normalizeH="0" baseline="0" noProof="0" dirty="0">
                <a:ln>
                  <a:noFill/>
                </a:ln>
                <a:solidFill>
                  <a:prstClr val="white"/>
                </a:solidFill>
                <a:effectLst/>
                <a:uLnTx/>
                <a:uFillTx/>
                <a:latin typeface="Century Gothic"/>
                <a:cs typeface="Calibri"/>
              </a:rPr>
              <a:t>プロジェクトタイプ</a:t>
            </a:r>
            <a:endParaRPr kumimoji="0" lang="es-ES" altLang="ja-JP" sz="1400" b="0" i="0" u="none" strike="noStrike" kern="0" cap="none" spc="0" normalizeH="0" baseline="0" noProof="0" dirty="0">
              <a:ln>
                <a:noFill/>
              </a:ln>
              <a:solidFill>
                <a:prstClr val="white"/>
              </a:solidFill>
              <a:effectLst/>
              <a:uLnTx/>
              <a:uFillTx/>
              <a:latin typeface="Century Gothic"/>
              <a:cs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MX" sz="1400" b="0" i="0" u="none" strike="noStrike" kern="0" cap="none" spc="0" normalizeH="0" baseline="0" noProof="0" dirty="0">
              <a:ln>
                <a:noFill/>
              </a:ln>
              <a:solidFill>
                <a:prstClr val="white"/>
              </a:solidFill>
              <a:effectLst/>
              <a:uLnTx/>
              <a:uFillTx/>
              <a:latin typeface="Century Gothic"/>
              <a:cs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s-MX" sz="14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ja-JP" altLang="es-ES" sz="1200" b="0" i="0" u="none" strike="noStrike" kern="0" cap="none" spc="0" normalizeH="0" baseline="0" noProof="0" dirty="0">
                <a:ln>
                  <a:noFill/>
                </a:ln>
                <a:solidFill>
                  <a:prstClr val="white"/>
                </a:solidFill>
                <a:effectLst/>
                <a:uLnTx/>
                <a:uFillTx/>
                <a:latin typeface="Century Gothic"/>
                <a:cs typeface="Calibri"/>
              </a:rPr>
              <a:t>自動化候補プロセスアセスメント</a:t>
            </a:r>
            <a:endParaRPr kumimoji="0" lang="pt-BR"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ja-JP" altLang="es-ES" sz="1200" b="0" i="0" u="none" strike="noStrike" kern="0" cap="none" spc="0" normalizeH="0" baseline="0" noProof="0" dirty="0">
                <a:ln>
                  <a:noFill/>
                </a:ln>
                <a:solidFill>
                  <a:prstClr val="white"/>
                </a:solidFill>
                <a:effectLst/>
                <a:uLnTx/>
                <a:uFillTx/>
                <a:latin typeface="Century Gothic"/>
                <a:cs typeface="Calibri"/>
              </a:rPr>
              <a:t>自動化対象の標準プロセスの定義支援</a:t>
            </a:r>
            <a:endParaRPr kumimoji="0" lang="pt-BR"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pt-BR" sz="1200" b="0" i="0" u="none" strike="noStrike" kern="0" cap="none" spc="0" normalizeH="0" baseline="0" noProof="0" dirty="0">
                <a:ln>
                  <a:noFill/>
                </a:ln>
                <a:solidFill>
                  <a:prstClr val="white"/>
                </a:solidFill>
                <a:effectLst/>
                <a:uLnTx/>
                <a:uFillTx/>
                <a:latin typeface="Century Gothic"/>
                <a:cs typeface="Calibri"/>
              </a:rPr>
              <a:t>RPA</a:t>
            </a:r>
            <a:r>
              <a:rPr kumimoji="0" lang="ja-JP" altLang="es-ES" sz="1200" b="0" i="0" u="none" strike="noStrike" kern="0" cap="none" spc="0" normalizeH="0" baseline="0" noProof="0" dirty="0">
                <a:ln>
                  <a:noFill/>
                </a:ln>
                <a:solidFill>
                  <a:prstClr val="white"/>
                </a:solidFill>
                <a:effectLst/>
                <a:uLnTx/>
                <a:uFillTx/>
                <a:latin typeface="Century Gothic"/>
                <a:cs typeface="Calibri"/>
              </a:rPr>
              <a:t>ロボット構築</a:t>
            </a:r>
            <a:endParaRPr kumimoji="0" lang="es-ES" altLang="ja-JP"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es-ES" altLang="ja-JP" sz="1200" b="0" i="0" u="none" strike="noStrike" kern="0" cap="none" spc="0" normalizeH="0" baseline="0" noProof="0" dirty="0">
                <a:ln>
                  <a:noFill/>
                </a:ln>
                <a:solidFill>
                  <a:prstClr val="white"/>
                </a:solidFill>
                <a:effectLst/>
                <a:uLnTx/>
                <a:uFillTx/>
                <a:latin typeface="Century Gothic"/>
                <a:cs typeface="Calibri"/>
              </a:rPr>
              <a:t>RPA</a:t>
            </a:r>
            <a:r>
              <a:rPr kumimoji="0" lang="ja-JP" altLang="es-ES" sz="1200" b="0" i="0" u="none" strike="noStrike" kern="0" cap="none" spc="0" normalizeH="0" baseline="0" noProof="0" dirty="0">
                <a:ln>
                  <a:noFill/>
                </a:ln>
                <a:solidFill>
                  <a:prstClr val="white"/>
                </a:solidFill>
                <a:effectLst/>
                <a:uLnTx/>
                <a:uFillTx/>
                <a:latin typeface="Century Gothic"/>
                <a:cs typeface="Calibri"/>
              </a:rPr>
              <a:t>ロボット導入後の維持運用支援</a:t>
            </a:r>
            <a:endParaRPr kumimoji="0" lang="es-ES" altLang="ja-JP"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ja-JP" altLang="es-ES" sz="1200" b="0" i="0" u="none" strike="noStrike" kern="0" cap="none" spc="0" normalizeH="0" baseline="0" noProof="0" dirty="0">
                <a:ln>
                  <a:noFill/>
                </a:ln>
                <a:solidFill>
                  <a:prstClr val="white"/>
                </a:solidFill>
                <a:effectLst/>
                <a:uLnTx/>
                <a:uFillTx/>
                <a:latin typeface="Century Gothic"/>
                <a:cs typeface="Calibri"/>
              </a:rPr>
              <a:t>既存ロボットの品質チェック</a:t>
            </a:r>
            <a:endParaRPr kumimoji="0" lang="es-ES" altLang="ja-JP"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pt-BR" sz="1200" b="0" i="0" u="none" strike="noStrike" kern="0" cap="none" spc="0" normalizeH="0" baseline="0" noProof="0" dirty="0" err="1">
                <a:ln>
                  <a:noFill/>
                </a:ln>
                <a:solidFill>
                  <a:prstClr val="white"/>
                </a:solidFill>
                <a:effectLst/>
                <a:uLnTx/>
                <a:uFillTx/>
                <a:latin typeface="Century Gothic"/>
                <a:cs typeface="Calibri"/>
              </a:rPr>
              <a:t>Hackathon</a:t>
            </a:r>
            <a:r>
              <a:rPr kumimoji="0" lang="pt-BR" sz="1200" b="0" i="0" u="none" strike="noStrike" kern="0" cap="none" spc="0" normalizeH="0" baseline="0" noProof="0" dirty="0">
                <a:ln>
                  <a:noFill/>
                </a:ln>
                <a:solidFill>
                  <a:prstClr val="white"/>
                </a:solidFill>
                <a:effectLst/>
                <a:uLnTx/>
                <a:uFillTx/>
                <a:latin typeface="Century Gothic"/>
                <a:cs typeface="Calibri"/>
              </a:rPr>
              <a:t> (</a:t>
            </a:r>
            <a:r>
              <a:rPr kumimoji="0" lang="ja-JP" altLang="es-ES" sz="1200" b="0" i="0" u="none" strike="noStrike" kern="0" cap="none" spc="0" normalizeH="0" baseline="0" noProof="0" dirty="0">
                <a:ln>
                  <a:noFill/>
                </a:ln>
                <a:solidFill>
                  <a:prstClr val="white"/>
                </a:solidFill>
                <a:effectLst/>
                <a:uLnTx/>
                <a:uFillTx/>
                <a:latin typeface="Century Gothic"/>
                <a:cs typeface="Calibri"/>
              </a:rPr>
              <a:t>ハッカソン</a:t>
            </a:r>
            <a:r>
              <a:rPr kumimoji="0" lang="es-ES" altLang="ja-JP" sz="1200" b="0" i="0" u="none" strike="noStrike" kern="0" cap="none" spc="0" normalizeH="0" baseline="0" noProof="0" dirty="0">
                <a:ln>
                  <a:noFill/>
                </a:ln>
                <a:solidFill>
                  <a:prstClr val="white"/>
                </a:solidFill>
                <a:effectLst/>
                <a:uLnTx/>
                <a:uFillTx/>
                <a:latin typeface="Century Gothic"/>
                <a:cs typeface="Calibri"/>
              </a:rPr>
              <a:t>)</a:t>
            </a:r>
            <a:r>
              <a:rPr kumimoji="0" lang="ja-JP" altLang="es-ES" sz="1200" b="0" i="0" u="none" strike="noStrike" kern="0" cap="none" spc="0" normalizeH="0" baseline="0" noProof="0" dirty="0">
                <a:ln>
                  <a:noFill/>
                </a:ln>
                <a:solidFill>
                  <a:prstClr val="white"/>
                </a:solidFill>
                <a:effectLst/>
                <a:uLnTx/>
                <a:uFillTx/>
                <a:latin typeface="Century Gothic"/>
                <a:cs typeface="Calibri"/>
              </a:rPr>
              <a:t>開催</a:t>
            </a:r>
            <a:endParaRPr kumimoji="0" lang="es-ES" altLang="ja-JP"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es-ES" altLang="ja-JP" sz="1200" b="0" i="0" u="none" strike="noStrike" kern="0" cap="none" spc="0" normalizeH="0" baseline="0" noProof="0" dirty="0">
                <a:ln>
                  <a:noFill/>
                </a:ln>
                <a:solidFill>
                  <a:prstClr val="white"/>
                </a:solidFill>
                <a:effectLst/>
                <a:uLnTx/>
                <a:uFillTx/>
                <a:latin typeface="Century Gothic"/>
                <a:cs typeface="Calibri"/>
              </a:rPr>
              <a:t>RPA</a:t>
            </a:r>
            <a:r>
              <a:rPr kumimoji="0" lang="ja-JP" altLang="es-ES" sz="1200" b="0" i="0" u="none" strike="noStrike" kern="0" cap="none" spc="0" normalizeH="0" baseline="0" noProof="0" dirty="0">
                <a:ln>
                  <a:noFill/>
                </a:ln>
                <a:solidFill>
                  <a:prstClr val="white"/>
                </a:solidFill>
                <a:effectLst/>
                <a:uLnTx/>
                <a:uFillTx/>
                <a:latin typeface="Century Gothic"/>
                <a:cs typeface="Calibri"/>
              </a:rPr>
              <a:t>ロボット構築者向けのトレーニング</a:t>
            </a:r>
            <a:endParaRPr kumimoji="0" lang="es-ES" altLang="ja-JP" sz="1200" b="0" i="0" u="none" strike="noStrike" kern="0" cap="none" spc="0" normalizeH="0" baseline="0" noProof="0" dirty="0">
              <a:ln>
                <a:noFill/>
              </a:ln>
              <a:solidFill>
                <a:prstClr val="white"/>
              </a:solidFill>
              <a:effectLst/>
              <a:uLnTx/>
              <a:uFillTx/>
              <a:latin typeface="Century Gothic"/>
              <a:cs typeface="Calibri"/>
            </a:endParaRPr>
          </a:p>
          <a:p>
            <a:pPr marL="285750" marR="0" lvl="0" indent="-285750" algn="l" defTabSz="914400" rtl="0" eaLnBrk="1" fontAlgn="auto" latinLnBrk="0" hangingPunct="0">
              <a:lnSpc>
                <a:spcPct val="200000"/>
              </a:lnSpc>
              <a:spcBef>
                <a:spcPts val="0"/>
              </a:spcBef>
              <a:spcAft>
                <a:spcPts val="0"/>
              </a:spcAft>
              <a:buClrTx/>
              <a:buSzTx/>
              <a:buFont typeface="Arial" panose="020B0604020202020204" pitchFamily="34" charset="0"/>
              <a:buChar char="•"/>
              <a:tabLst/>
              <a:defRPr/>
            </a:pPr>
            <a:r>
              <a:rPr kumimoji="0" lang="es-ES" altLang="ja-JP" sz="1200" b="0" i="0" u="none" strike="noStrike" kern="0" cap="none" spc="0" normalizeH="0" baseline="0" noProof="0" dirty="0">
                <a:ln>
                  <a:noFill/>
                </a:ln>
                <a:solidFill>
                  <a:prstClr val="white"/>
                </a:solidFill>
                <a:effectLst/>
                <a:uLnTx/>
                <a:uFillTx/>
                <a:latin typeface="Century Gothic"/>
                <a:cs typeface="Calibri"/>
              </a:rPr>
              <a:t>RPA</a:t>
            </a:r>
            <a:r>
              <a:rPr kumimoji="0" lang="ja-JP" altLang="es-ES" sz="1200" b="0" i="0" u="none" strike="noStrike" kern="0" cap="none" spc="0" normalizeH="0" baseline="0" noProof="0" dirty="0">
                <a:ln>
                  <a:noFill/>
                </a:ln>
                <a:solidFill>
                  <a:prstClr val="white"/>
                </a:solidFill>
                <a:effectLst/>
                <a:uLnTx/>
                <a:uFillTx/>
                <a:latin typeface="Century Gothic"/>
                <a:cs typeface="Calibri"/>
              </a:rPr>
              <a:t>維持運用者向けのトレーニング</a:t>
            </a:r>
            <a:endParaRPr kumimoji="0" lang="es-ES" altLang="ja-JP" sz="1200" b="0" i="0" u="none" strike="noStrike" kern="0" cap="none" spc="0" normalizeH="0" baseline="0" noProof="0" dirty="0">
              <a:ln>
                <a:noFill/>
              </a:ln>
              <a:solidFill>
                <a:prstClr val="white"/>
              </a:solidFill>
              <a:effectLst/>
              <a:uLnTx/>
              <a:uFillTx/>
              <a:latin typeface="Century Gothic"/>
              <a:cs typeface="Calibri"/>
            </a:endParaRPr>
          </a:p>
          <a:p>
            <a:pPr marL="0" marR="0" lvl="0" indent="0" algn="l" defTabSz="914400" rtl="0" eaLnBrk="1" fontAlgn="auto" latinLnBrk="0" hangingPunct="0">
              <a:lnSpc>
                <a:spcPct val="200000"/>
              </a:lnSpc>
              <a:spcBef>
                <a:spcPts val="0"/>
              </a:spcBef>
              <a:spcAft>
                <a:spcPts val="0"/>
              </a:spcAft>
              <a:buClrTx/>
              <a:buSzTx/>
              <a:buFontTx/>
              <a:buNone/>
              <a:tabLst/>
              <a:defRPr/>
            </a:pPr>
            <a:endParaRPr kumimoji="0" lang="pt-BR" sz="1400" b="0" i="0" u="none" strike="noStrike" kern="0" cap="none" spc="0" normalizeH="0" baseline="0" noProof="0" dirty="0">
              <a:ln>
                <a:noFill/>
              </a:ln>
              <a:solidFill>
                <a:prstClr val="white"/>
              </a:solidFill>
              <a:effectLst/>
              <a:uLnTx/>
              <a:uFillTx/>
              <a:latin typeface="Century Gothic"/>
              <a:cs typeface="Calibri"/>
            </a:endParaRPr>
          </a:p>
        </p:txBody>
      </p:sp>
    </p:spTree>
    <p:extLst>
      <p:ext uri="{BB962C8B-B14F-4D97-AF65-F5344CB8AC3E}">
        <p14:creationId xmlns:p14="http://schemas.microsoft.com/office/powerpoint/2010/main" val="46710358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ja-JP" altLang="es-ES" dirty="0"/>
              <a:t>コーポレートレベルでの</a:t>
            </a:r>
            <a:r>
              <a:rPr lang="es-ES" altLang="ja-JP" dirty="0"/>
              <a:t>RPA</a:t>
            </a:r>
            <a:r>
              <a:rPr lang="ja-JP" altLang="es-ES" dirty="0"/>
              <a:t>による業務効率化を推進</a:t>
            </a:r>
            <a:endParaRPr lang="en-US" dirty="0"/>
          </a:p>
        </p:txBody>
      </p:sp>
      <p:sp>
        <p:nvSpPr>
          <p:cNvPr id="4" name="Marcador de texto 3"/>
          <p:cNvSpPr>
            <a:spLocks noGrp="1"/>
          </p:cNvSpPr>
          <p:nvPr>
            <p:ph type="body" sz="quarter" idx="21"/>
          </p:nvPr>
        </p:nvSpPr>
        <p:spPr/>
        <p:txBody>
          <a:bodyPr/>
          <a:lstStyle/>
          <a:p>
            <a:r>
              <a:rPr lang="ja-JP" altLang="es-ES" dirty="0"/>
              <a:t>参考</a:t>
            </a:r>
            <a:r>
              <a:rPr lang="es-ES" altLang="ja-JP" dirty="0"/>
              <a:t>: </a:t>
            </a:r>
            <a:r>
              <a:rPr lang="ja-JP" altLang="es-ES" dirty="0"/>
              <a:t>物流・運輸業界様の取り組み（</a:t>
            </a:r>
            <a:r>
              <a:rPr lang="es-ES" altLang="ja-JP" dirty="0"/>
              <a:t>1/2</a:t>
            </a:r>
            <a:r>
              <a:rPr lang="ja-JP" altLang="es-ES" dirty="0"/>
              <a:t>）－　日本通運株式会社様 ご提供資料　</a:t>
            </a:r>
          </a:p>
        </p:txBody>
      </p:sp>
      <p:pic>
        <p:nvPicPr>
          <p:cNvPr id="2" name="Imagen 1"/>
          <p:cNvPicPr>
            <a:picLocks noChangeAspect="1"/>
          </p:cNvPicPr>
          <p:nvPr/>
        </p:nvPicPr>
        <p:blipFill rotWithShape="1">
          <a:blip r:embed="rId2"/>
          <a:srcRect l="21975" t="26000" r="23275" b="12667"/>
          <a:stretch/>
        </p:blipFill>
        <p:spPr>
          <a:xfrm>
            <a:off x="1764792" y="1371147"/>
            <a:ext cx="8010144" cy="5047488"/>
          </a:xfrm>
          <a:prstGeom prst="rect">
            <a:avLst/>
          </a:prstGeom>
        </p:spPr>
      </p:pic>
    </p:spTree>
    <p:extLst>
      <p:ext uri="{BB962C8B-B14F-4D97-AF65-F5344CB8AC3E}">
        <p14:creationId xmlns:p14="http://schemas.microsoft.com/office/powerpoint/2010/main" val="2703191776"/>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ja-JP" altLang="es-ES" dirty="0"/>
              <a:t>コーポレートレベルでの</a:t>
            </a:r>
            <a:r>
              <a:rPr lang="es-ES" altLang="ja-JP" dirty="0"/>
              <a:t>RPA</a:t>
            </a:r>
            <a:r>
              <a:rPr lang="ja-JP" altLang="es-ES" dirty="0"/>
              <a:t>による業務効率化を推進</a:t>
            </a:r>
            <a:endParaRPr lang="en-US" dirty="0"/>
          </a:p>
        </p:txBody>
      </p:sp>
      <p:sp>
        <p:nvSpPr>
          <p:cNvPr id="4" name="Marcador de texto 3"/>
          <p:cNvSpPr>
            <a:spLocks noGrp="1"/>
          </p:cNvSpPr>
          <p:nvPr>
            <p:ph type="body" sz="quarter" idx="21"/>
          </p:nvPr>
        </p:nvSpPr>
        <p:spPr/>
        <p:txBody>
          <a:bodyPr/>
          <a:lstStyle/>
          <a:p>
            <a:pPr lvl="0"/>
            <a:r>
              <a:rPr lang="ja-JP" altLang="es-ES" dirty="0"/>
              <a:t>参考</a:t>
            </a:r>
            <a:r>
              <a:rPr lang="es-ES" altLang="ja-JP" dirty="0"/>
              <a:t>: </a:t>
            </a:r>
            <a:r>
              <a:rPr lang="ja-JP" altLang="es-ES" dirty="0"/>
              <a:t>物流・運輸業界様の取り組み（</a:t>
            </a:r>
            <a:r>
              <a:rPr lang="es-ES" altLang="ja-JP" dirty="0"/>
              <a:t>2/2</a:t>
            </a:r>
            <a:r>
              <a:rPr lang="ja-JP" altLang="es-ES" dirty="0"/>
              <a:t>）－　ヤマトシステム開発様 ご提供資料　</a:t>
            </a:r>
          </a:p>
        </p:txBody>
      </p:sp>
      <p:pic>
        <p:nvPicPr>
          <p:cNvPr id="2" name="Imagen 1"/>
          <p:cNvPicPr>
            <a:picLocks noChangeAspect="1"/>
          </p:cNvPicPr>
          <p:nvPr/>
        </p:nvPicPr>
        <p:blipFill>
          <a:blip r:embed="rId2"/>
          <a:stretch>
            <a:fillRect/>
          </a:stretch>
        </p:blipFill>
        <p:spPr>
          <a:xfrm>
            <a:off x="2038500" y="1468335"/>
            <a:ext cx="3073333" cy="2050352"/>
          </a:xfrm>
          <a:prstGeom prst="rect">
            <a:avLst/>
          </a:prstGeom>
        </p:spPr>
      </p:pic>
      <p:pic>
        <p:nvPicPr>
          <p:cNvPr id="5" name="Imagen 4"/>
          <p:cNvPicPr>
            <a:picLocks noChangeAspect="1"/>
          </p:cNvPicPr>
          <p:nvPr/>
        </p:nvPicPr>
        <p:blipFill rotWithShape="1">
          <a:blip r:embed="rId3"/>
          <a:srcRect l="52725" t="22533" r="5575" b="20933"/>
          <a:stretch/>
        </p:blipFill>
        <p:spPr>
          <a:xfrm>
            <a:off x="5184648" y="1423917"/>
            <a:ext cx="4704070" cy="3587276"/>
          </a:xfrm>
          <a:prstGeom prst="rect">
            <a:avLst/>
          </a:prstGeom>
        </p:spPr>
      </p:pic>
      <p:sp>
        <p:nvSpPr>
          <p:cNvPr id="6" name="Rectángulo 5"/>
          <p:cNvSpPr/>
          <p:nvPr/>
        </p:nvSpPr>
        <p:spPr>
          <a:xfrm>
            <a:off x="1192588" y="5189403"/>
            <a:ext cx="6096000" cy="646331"/>
          </a:xfrm>
          <a:prstGeom prst="rect">
            <a:avLst/>
          </a:prstGeom>
        </p:spPr>
        <p:txBody>
          <a:bodyP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s-ES" sz="1200" b="0" i="0" u="none" strike="noStrike" kern="1200" cap="none" spc="0" normalizeH="0" baseline="0" noProof="0" dirty="0">
                <a:ln>
                  <a:noFill/>
                </a:ln>
                <a:solidFill>
                  <a:prstClr val="black"/>
                </a:solidFill>
                <a:effectLst/>
                <a:uLnTx/>
                <a:uFillTx/>
                <a:latin typeface="Century Gothic"/>
                <a:cs typeface="Helvetica"/>
              </a:rPr>
              <a:t>社員一人ひとりの労働時間の短縮や効率化を図りたい</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s-ES" sz="1200" b="0" i="0" u="none" strike="noStrike" kern="1200" cap="none" spc="0" normalizeH="0" baseline="0" noProof="0" dirty="0">
                <a:ln>
                  <a:noFill/>
                </a:ln>
                <a:solidFill>
                  <a:prstClr val="black"/>
                </a:solidFill>
                <a:effectLst/>
                <a:uLnTx/>
                <a:uFillTx/>
                <a:latin typeface="Century Gothic"/>
                <a:cs typeface="Helvetica"/>
              </a:rPr>
              <a:t>概念実証を行い、</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RPA</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の実現性・実効性を検証した後、本格的に導入したい</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ja-JP" sz="1200" b="0" i="0" u="none" strike="noStrike" kern="1200" cap="none" spc="0" normalizeH="0" baseline="0" noProof="0" dirty="0">
                <a:ln>
                  <a:noFill/>
                </a:ln>
                <a:solidFill>
                  <a:prstClr val="black"/>
                </a:solidFill>
                <a:effectLst/>
                <a:uLnTx/>
                <a:uFillTx/>
                <a:latin typeface="Century Gothic"/>
                <a:cs typeface="Helvetica"/>
              </a:rPr>
              <a:t>RPA</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の導入・運用をスムーズに行うために頼れるパートナーがほしい</a:t>
            </a:r>
            <a:endParaRPr kumimoji="0" lang="es-ES" sz="1200" b="0" i="0" u="none" strike="noStrike" kern="1200" cap="none" spc="0" normalizeH="0" baseline="0" noProof="0" dirty="0">
              <a:ln>
                <a:noFill/>
              </a:ln>
              <a:solidFill>
                <a:prstClr val="black"/>
              </a:solidFill>
              <a:effectLst/>
              <a:uLnTx/>
              <a:uFillTx/>
              <a:latin typeface="Century Gothic"/>
              <a:cs typeface="Helvetica"/>
            </a:endParaRPr>
          </a:p>
        </p:txBody>
      </p:sp>
      <p:sp>
        <p:nvSpPr>
          <p:cNvPr id="7" name="Rectángulo 6"/>
          <p:cNvSpPr/>
          <p:nvPr/>
        </p:nvSpPr>
        <p:spPr>
          <a:xfrm>
            <a:off x="6985676" y="5159020"/>
            <a:ext cx="4963853"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ja-JP" sz="1200" b="0" i="0" u="none" strike="noStrike" kern="1200" cap="none" spc="0" normalizeH="0" baseline="0" noProof="0" dirty="0">
                <a:ln>
                  <a:noFill/>
                </a:ln>
                <a:solidFill>
                  <a:prstClr val="black"/>
                </a:solidFill>
                <a:effectLst/>
                <a:uLnTx/>
                <a:uFillTx/>
                <a:latin typeface="Century Gothic"/>
                <a:cs typeface="Helvetica"/>
              </a:rPr>
              <a:t>【</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事例</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altLang="ja-JP" sz="800" b="0" i="0" u="none" strike="noStrike" kern="1200" cap="none" spc="0" normalizeH="0" baseline="0" noProof="0" dirty="0">
              <a:ln>
                <a:noFill/>
              </a:ln>
              <a:solidFill>
                <a:prstClr val="black"/>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200" b="0" i="0" u="none" strike="noStrike" kern="1200" cap="none" spc="0" normalizeH="0" baseline="0" noProof="0" dirty="0">
                <a:ln>
                  <a:noFill/>
                </a:ln>
                <a:solidFill>
                  <a:prstClr val="black"/>
                </a:solidFill>
                <a:effectLst/>
                <a:uLnTx/>
                <a:uFillTx/>
                <a:latin typeface="Century Gothic"/>
                <a:cs typeface="Helvetica"/>
              </a:rPr>
              <a:t>・財務部門では</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100</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以上のデータを扱う月次分析資料の作成を自動化</a:t>
            </a:r>
            <a:endParaRPr kumimoji="0" lang="es-ES" altLang="ja-JP" sz="1200" b="0" i="0" u="none" strike="noStrike" kern="1200" cap="none" spc="0" normalizeH="0" baseline="0" noProof="0" dirty="0">
              <a:ln>
                <a:noFill/>
              </a:ln>
              <a:solidFill>
                <a:prstClr val="black"/>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200" b="0" i="0" u="none" strike="noStrike" kern="1200" cap="none" spc="0" normalizeH="0" baseline="0" noProof="0" dirty="0">
                <a:ln>
                  <a:noFill/>
                </a:ln>
                <a:solidFill>
                  <a:prstClr val="black"/>
                </a:solidFill>
                <a:effectLst/>
                <a:uLnTx/>
                <a:uFillTx/>
                <a:latin typeface="Century Gothic"/>
                <a:cs typeface="Helvetica"/>
              </a:rPr>
              <a:t>　→作業時間が</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2</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日から約</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2</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時間まで大幅に短縮</a:t>
            </a:r>
            <a:endParaRPr kumimoji="0" lang="es-ES" altLang="ja-JP" sz="1200" b="0" i="0" u="none" strike="noStrike" kern="1200" cap="none" spc="0" normalizeH="0" baseline="0" noProof="0" dirty="0">
              <a:ln>
                <a:noFill/>
              </a:ln>
              <a:solidFill>
                <a:prstClr val="black"/>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altLang="ja-JP" sz="800" b="0" i="0" u="none" strike="noStrike" kern="1200" cap="none" spc="0" normalizeH="0" baseline="0" noProof="0" dirty="0">
              <a:ln>
                <a:noFill/>
              </a:ln>
              <a:solidFill>
                <a:prstClr val="black"/>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200" b="0" i="0" u="none" strike="noStrike" kern="1200" cap="none" spc="0" normalizeH="0" baseline="0" noProof="0" dirty="0">
                <a:ln>
                  <a:noFill/>
                </a:ln>
                <a:solidFill>
                  <a:prstClr val="black"/>
                </a:solidFill>
                <a:effectLst/>
                <a:uLnTx/>
                <a:uFillTx/>
                <a:latin typeface="Century Gothic"/>
                <a:cs typeface="Helvetica"/>
              </a:rPr>
              <a:t>・</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Excel</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の請求書関係データの転記作業を自動化</a:t>
            </a:r>
            <a:endParaRPr kumimoji="0" lang="es-ES" altLang="ja-JP" sz="1200" b="0" i="0" u="none" strike="noStrike" kern="1200" cap="none" spc="0" normalizeH="0" baseline="0" noProof="0" dirty="0">
              <a:ln>
                <a:noFill/>
              </a:ln>
              <a:solidFill>
                <a:prstClr val="black"/>
              </a:solidFill>
              <a:effectLst/>
              <a:uLnTx/>
              <a:uFillTx/>
              <a:latin typeface="Century Gothic"/>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s-ES" sz="1200" b="0" i="0" u="none" strike="noStrike" kern="1200" cap="none" spc="0" normalizeH="0" baseline="0" noProof="0" dirty="0">
                <a:ln>
                  <a:noFill/>
                </a:ln>
                <a:solidFill>
                  <a:prstClr val="black"/>
                </a:solidFill>
                <a:effectLst/>
                <a:uLnTx/>
                <a:uFillTx/>
                <a:latin typeface="Century Gothic"/>
                <a:cs typeface="Helvetica"/>
              </a:rPr>
              <a:t>　→</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3</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時間から</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20</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分に作業時間を短縮</a:t>
            </a:r>
          </a:p>
        </p:txBody>
      </p:sp>
      <p:sp>
        <p:nvSpPr>
          <p:cNvPr id="8" name="Rectángulo 7"/>
          <p:cNvSpPr/>
          <p:nvPr/>
        </p:nvSpPr>
        <p:spPr>
          <a:xfrm>
            <a:off x="1192588" y="6022175"/>
            <a:ext cx="5068487" cy="46166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altLang="ja-JP" sz="1200" b="0" i="0" u="none" strike="noStrike" kern="1200" cap="none" spc="0" normalizeH="0" baseline="0" noProof="0" dirty="0">
                <a:ln>
                  <a:noFill/>
                </a:ln>
                <a:solidFill>
                  <a:prstClr val="black"/>
                </a:solidFill>
                <a:effectLst/>
                <a:uLnTx/>
                <a:uFillTx/>
                <a:latin typeface="Century Gothic"/>
                <a:cs typeface="Helvetica"/>
              </a:rPr>
              <a:t>RPA</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製品として</a:t>
            </a:r>
            <a:r>
              <a:rPr kumimoji="0" lang="es-ES" altLang="ja-JP" sz="1200" b="0" i="0" u="none" strike="noStrike" kern="1200" cap="none" spc="0" normalizeH="0" baseline="0" noProof="0" dirty="0">
                <a:ln>
                  <a:noFill/>
                </a:ln>
                <a:solidFill>
                  <a:prstClr val="black"/>
                </a:solidFill>
                <a:effectLst/>
                <a:uLnTx/>
                <a:uFillTx/>
                <a:latin typeface="Century Gothic"/>
                <a:cs typeface="Helvetica"/>
              </a:rPr>
              <a:t>WinActor</a:t>
            </a:r>
            <a:r>
              <a:rPr kumimoji="0" lang="ja-JP" altLang="es-ES" sz="1200" b="0" i="0" u="none" strike="noStrike" kern="1200" cap="none" spc="0" normalizeH="0" baseline="0" noProof="0" dirty="0">
                <a:ln>
                  <a:noFill/>
                </a:ln>
                <a:solidFill>
                  <a:prstClr val="black"/>
                </a:solidFill>
                <a:effectLst/>
                <a:uLnTx/>
                <a:uFillTx/>
                <a:latin typeface="Century Gothic"/>
                <a:cs typeface="Helvetica"/>
              </a:rPr>
              <a:t>を採用。プログラミング知識不要、その使いやすさから現場での利用を促進し働き方改革の推進に貢献</a:t>
            </a:r>
          </a:p>
        </p:txBody>
      </p:sp>
      <p:sp>
        <p:nvSpPr>
          <p:cNvPr id="10" name="Triángulo isósceles 9"/>
          <p:cNvSpPr/>
          <p:nvPr/>
        </p:nvSpPr>
        <p:spPr>
          <a:xfrm flipV="1">
            <a:off x="3236956" y="5835349"/>
            <a:ext cx="677574" cy="186826"/>
          </a:xfrm>
          <a:prstGeom prst="triangle">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0" i="0" u="none" strike="noStrike" kern="120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1" name="Rectángulo 10"/>
          <p:cNvSpPr/>
          <p:nvPr/>
        </p:nvSpPr>
        <p:spPr>
          <a:xfrm>
            <a:off x="511452" y="5238524"/>
            <a:ext cx="585618" cy="318036"/>
          </a:xfrm>
          <a:prstGeom prst="rect">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ja-JP" altLang="es-ES" sz="1400" b="0" i="0" u="none" strike="noStrike" kern="120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課題</a:t>
            </a:r>
            <a:endParaRPr kumimoji="0" lang="es-ES" sz="1400" b="0" i="0" u="none" strike="noStrike" kern="120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2" name="Rectángulo 11"/>
          <p:cNvSpPr/>
          <p:nvPr/>
        </p:nvSpPr>
        <p:spPr>
          <a:xfrm>
            <a:off x="511452" y="5972679"/>
            <a:ext cx="585618" cy="318036"/>
          </a:xfrm>
          <a:prstGeom prst="rect">
            <a:avLst/>
          </a:prstGeom>
          <a:solidFill>
            <a:schemeClr val="bg1">
              <a:lumMod val="6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ja-JP" altLang="es-ES" sz="1400" b="0" i="0" u="none" strike="noStrike" kern="1200" cap="none" spc="0" normalizeH="0" baseline="0" noProof="0" dirty="0">
                <a:ln>
                  <a:noFill/>
                </a:ln>
                <a:solidFill>
                  <a:srgbClr val="FFFFFF"/>
                </a:solidFill>
                <a:effectLst/>
                <a:uLnTx/>
                <a:uFillTx/>
                <a:latin typeface="Helvetica Neue Medium"/>
                <a:ea typeface="Helvetica Neue Medium"/>
                <a:cs typeface="Helvetica Neue Medium"/>
                <a:sym typeface="Helvetica Neue Medium"/>
              </a:rPr>
              <a:t>解決</a:t>
            </a:r>
            <a:endParaRPr kumimoji="0" lang="es-ES" sz="1400" b="0" i="0" u="none" strike="noStrike" kern="120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44842649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21"/>
          </p:nvPr>
        </p:nvSpPr>
        <p:spPr>
          <a:xfrm>
            <a:off x="511452" y="466839"/>
            <a:ext cx="11520000" cy="393879"/>
          </a:xfrm>
        </p:spPr>
        <p:txBody>
          <a:bodyPr/>
          <a:lstStyle/>
          <a:p>
            <a:r>
              <a:rPr lang="en-GB" sz="3600" dirty="0"/>
              <a:t>RPA</a:t>
            </a:r>
            <a:r>
              <a:rPr lang="ja-JP" altLang="en-US" sz="3600" dirty="0"/>
              <a:t>をご紹介する理由</a:t>
            </a:r>
            <a:endParaRPr lang="en-GB" sz="3600" dirty="0"/>
          </a:p>
        </p:txBody>
      </p:sp>
      <p:sp>
        <p:nvSpPr>
          <p:cNvPr id="51" name="Rectángulo 113">
            <a:extLst>
              <a:ext uri="{FF2B5EF4-FFF2-40B4-BE49-F238E27FC236}">
                <a16:creationId xmlns:a16="http://schemas.microsoft.com/office/drawing/2014/main" id="{2D77D88B-6A4C-427C-B822-D9E9902C1BE2}"/>
              </a:ext>
            </a:extLst>
          </p:cNvPr>
          <p:cNvSpPr/>
          <p:nvPr/>
        </p:nvSpPr>
        <p:spPr>
          <a:xfrm>
            <a:off x="827017" y="860718"/>
            <a:ext cx="10888870" cy="199456"/>
          </a:xfrm>
          <a:prstGeom prst="rect">
            <a:avLst/>
          </a:prstGeom>
          <a:solidFill>
            <a:schemeClr val="bg1"/>
          </a:solidFill>
          <a:ln w="3175" cap="flat" cmpd="sng" algn="ctr">
            <a:solidFill>
              <a:schemeClr val="bg1"/>
            </a:solidFill>
            <a:prstDash val="solid"/>
            <a:miter lim="800000"/>
          </a:ln>
          <a:effectLst/>
        </p:spPr>
        <p:txBody>
          <a:bodyPr lIns="252000" tIns="360000"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lang="pt-BR" sz="2800" b="1" kern="0" spc="300" dirty="0">
              <a:solidFill>
                <a:srgbClr val="0070C0"/>
              </a:solidFill>
            </a:endParaRPr>
          </a:p>
          <a:p>
            <a:pPr marL="342900" lvl="0" indent="-342900">
              <a:lnSpc>
                <a:spcPct val="150000"/>
              </a:lnSpc>
              <a:spcAft>
                <a:spcPts val="900"/>
              </a:spcAft>
              <a:buFont typeface="+mj-lt"/>
              <a:buAutoNum type="arabicPeriod"/>
              <a:tabLst>
                <a:tab pos="179388" algn="l"/>
              </a:tabLst>
            </a:pPr>
            <a:r>
              <a:rPr lang="ja-JP" altLang="en-US" sz="2800" b="1" kern="0" spc="300" dirty="0"/>
              <a:t>売掛金・買掛金・在庫</a:t>
            </a:r>
            <a:endParaRPr lang="es-ES" altLang="ja-JP" sz="2800" b="1" kern="0" spc="300" dirty="0"/>
          </a:p>
          <a:p>
            <a:pPr marL="342900" lvl="0" indent="-342900">
              <a:lnSpc>
                <a:spcPct val="150000"/>
              </a:lnSpc>
              <a:spcAft>
                <a:spcPts val="900"/>
              </a:spcAft>
              <a:buFont typeface="+mj-lt"/>
              <a:buAutoNum type="arabicPeriod"/>
              <a:tabLst>
                <a:tab pos="179388" algn="l"/>
              </a:tabLst>
            </a:pPr>
            <a:r>
              <a:rPr lang="ja-JP" altLang="en-US" sz="2800" b="1" kern="0" spc="300" dirty="0">
                <a:solidFill>
                  <a:srgbClr val="000000"/>
                </a:solidFill>
              </a:rPr>
              <a:t>基幹システムからの転記ミス</a:t>
            </a:r>
            <a:endParaRPr lang="es-ES" altLang="ja-JP" sz="2800" b="1" kern="0" spc="300" dirty="0">
              <a:solidFill>
                <a:srgbClr val="000000"/>
              </a:solidFill>
            </a:endParaRPr>
          </a:p>
          <a:p>
            <a:pPr marL="342900" lvl="0" indent="-342900">
              <a:lnSpc>
                <a:spcPct val="150000"/>
              </a:lnSpc>
              <a:spcAft>
                <a:spcPts val="900"/>
              </a:spcAft>
              <a:buFont typeface="+mj-lt"/>
              <a:buAutoNum type="arabicPeriod"/>
              <a:tabLst>
                <a:tab pos="179388" algn="l"/>
              </a:tabLst>
            </a:pPr>
            <a:r>
              <a:rPr lang="ja-JP" altLang="en-US" sz="2800" b="1" kern="0" spc="300" dirty="0">
                <a:solidFill>
                  <a:srgbClr val="000000"/>
                </a:solidFill>
              </a:rPr>
              <a:t>言語</a:t>
            </a:r>
            <a:endParaRPr lang="es-ES" altLang="ja-JP" sz="2800" b="1" kern="0" spc="300" dirty="0">
              <a:solidFill>
                <a:srgbClr val="000000"/>
              </a:solidFill>
            </a:endParaRPr>
          </a:p>
          <a:p>
            <a:pPr marL="342900" lvl="0" indent="-342900">
              <a:lnSpc>
                <a:spcPct val="150000"/>
              </a:lnSpc>
              <a:spcAft>
                <a:spcPts val="900"/>
              </a:spcAft>
              <a:buFont typeface="+mj-lt"/>
              <a:buAutoNum type="arabicPeriod"/>
              <a:tabLst>
                <a:tab pos="179388" algn="l"/>
              </a:tabLst>
            </a:pPr>
            <a:r>
              <a:rPr lang="ja-JP" altLang="en-US" sz="2800" b="1" kern="0" spc="300" dirty="0">
                <a:solidFill>
                  <a:srgbClr val="000000"/>
                </a:solidFill>
              </a:rPr>
              <a:t>責任</a:t>
            </a:r>
            <a:endParaRPr lang="es-ES" altLang="ja-JP" sz="2800" b="1" kern="0" spc="300" dirty="0">
              <a:solidFill>
                <a:srgbClr val="000000"/>
              </a:solidFill>
            </a:endParaRPr>
          </a:p>
          <a:p>
            <a:pPr marL="342900" lvl="0" indent="-342900">
              <a:lnSpc>
                <a:spcPct val="150000"/>
              </a:lnSpc>
              <a:spcAft>
                <a:spcPts val="900"/>
              </a:spcAft>
              <a:buFont typeface="+mj-lt"/>
              <a:buAutoNum type="arabicPeriod"/>
              <a:tabLst>
                <a:tab pos="179388" algn="l"/>
              </a:tabLst>
            </a:pPr>
            <a:r>
              <a:rPr lang="ja-JP" altLang="en-US" sz="2800" b="1" kern="0" spc="300" dirty="0">
                <a:solidFill>
                  <a:srgbClr val="000000"/>
                </a:solidFill>
              </a:rPr>
              <a:t>解放</a:t>
            </a:r>
            <a:endParaRPr lang="es-ES" altLang="ja-JP" sz="2800" b="1" kern="0" spc="300" dirty="0">
              <a:solidFill>
                <a:srgbClr val="000000"/>
              </a:solidFill>
            </a:endParaRPr>
          </a:p>
          <a:p>
            <a:pPr lvl="0">
              <a:spcAft>
                <a:spcPts val="900"/>
              </a:spcAft>
              <a:tabLst>
                <a:tab pos="179388" algn="l"/>
              </a:tabLst>
            </a:pPr>
            <a:endParaRPr lang="pt-BR" sz="1300" b="1" i="1" kern="0" spc="300" dirty="0">
              <a:solidFill>
                <a:srgbClr val="000000"/>
              </a:solidFill>
            </a:endParaRPr>
          </a:p>
        </p:txBody>
      </p:sp>
    </p:spTree>
    <p:extLst>
      <p:ext uri="{BB962C8B-B14F-4D97-AF65-F5344CB8AC3E}">
        <p14:creationId xmlns:p14="http://schemas.microsoft.com/office/powerpoint/2010/main" val="203271105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7"/>
          <p:cNvSpPr>
            <a:spLocks noGrp="1"/>
          </p:cNvSpPr>
          <p:nvPr>
            <p:ph sz="quarter" idx="22"/>
          </p:nvPr>
        </p:nvSpPr>
        <p:spPr/>
        <p:txBody>
          <a:bodyPr/>
          <a:lstStyle/>
          <a:p>
            <a:endParaRPr lang="es-ES"/>
          </a:p>
        </p:txBody>
      </p:sp>
      <p:pic>
        <p:nvPicPr>
          <p:cNvPr id="9" name="Imagen 8"/>
          <p:cNvPicPr>
            <a:picLocks noChangeAspect="1"/>
          </p:cNvPicPr>
          <p:nvPr/>
        </p:nvPicPr>
        <p:blipFill>
          <a:blip r:embed="rId2"/>
          <a:stretch>
            <a:fillRect/>
          </a:stretch>
        </p:blipFill>
        <p:spPr>
          <a:xfrm>
            <a:off x="-4215" y="1225296"/>
            <a:ext cx="12196215" cy="5632705"/>
          </a:xfrm>
          <a:prstGeom prst="rect">
            <a:avLst/>
          </a:prstGeom>
        </p:spPr>
      </p:pic>
      <p:sp>
        <p:nvSpPr>
          <p:cNvPr id="11" name="CuadroTexto 10"/>
          <p:cNvSpPr txBox="1"/>
          <p:nvPr/>
        </p:nvSpPr>
        <p:spPr>
          <a:xfrm>
            <a:off x="9785388" y="6215008"/>
            <a:ext cx="2363596" cy="4349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defTabSz="825500" hangingPunct="0">
              <a:lnSpc>
                <a:spcPct val="120000"/>
              </a:lnSpc>
            </a:pPr>
            <a:r>
              <a:rPr lang="es-ES" altLang="ja-JP" b="1" spc="-96" dirty="0">
                <a:solidFill>
                  <a:prstClr val="white">
                    <a:alpha val="90000"/>
                  </a:prstClr>
                </a:solidFill>
                <a:sym typeface="Circular Pro Book"/>
              </a:rPr>
              <a:t>2023</a:t>
            </a:r>
            <a:r>
              <a:rPr lang="ja-JP" altLang="es-ES" b="1" spc="-96" dirty="0">
                <a:solidFill>
                  <a:prstClr val="white">
                    <a:alpha val="90000"/>
                  </a:prstClr>
                </a:solidFill>
                <a:sym typeface="Circular Pro Book"/>
              </a:rPr>
              <a:t>年</a:t>
            </a:r>
            <a:r>
              <a:rPr lang="es-ES" altLang="ja-JP" b="1" spc="-96" dirty="0">
                <a:solidFill>
                  <a:prstClr val="white">
                    <a:alpha val="90000"/>
                  </a:prstClr>
                </a:solidFill>
                <a:sym typeface="Circular Pro Book"/>
              </a:rPr>
              <a:t>07</a:t>
            </a:r>
            <a:r>
              <a:rPr lang="ja-JP" altLang="es-ES" b="1" spc="-96" dirty="0">
                <a:solidFill>
                  <a:prstClr val="white">
                    <a:alpha val="90000"/>
                  </a:prstClr>
                </a:solidFill>
                <a:sym typeface="Circular Pro Book"/>
              </a:rPr>
              <a:t>月</a:t>
            </a:r>
            <a:r>
              <a:rPr lang="es-ES" altLang="ja-JP" b="1" spc="-96" dirty="0">
                <a:solidFill>
                  <a:prstClr val="white">
                    <a:alpha val="90000"/>
                  </a:prstClr>
                </a:solidFill>
                <a:sym typeface="Circular Pro Book"/>
              </a:rPr>
              <a:t>14</a:t>
            </a:r>
            <a:r>
              <a:rPr lang="ja-JP" altLang="es-ES" b="1" spc="-96" dirty="0">
                <a:solidFill>
                  <a:prstClr val="white">
                    <a:alpha val="90000"/>
                  </a:prstClr>
                </a:solidFill>
                <a:sym typeface="Circular Pro Book"/>
              </a:rPr>
              <a:t>日（金）</a:t>
            </a:r>
            <a:endParaRPr lang="es-ES" b="1" spc="-96" dirty="0">
              <a:solidFill>
                <a:prstClr val="white">
                  <a:alpha val="90000"/>
                </a:prstClr>
              </a:solidFill>
              <a:sym typeface="Circular Pro Book"/>
            </a:endParaRPr>
          </a:p>
        </p:txBody>
      </p:sp>
      <p:sp>
        <p:nvSpPr>
          <p:cNvPr id="13" name="CuadroTexto 12"/>
          <p:cNvSpPr txBox="1"/>
          <p:nvPr/>
        </p:nvSpPr>
        <p:spPr>
          <a:xfrm>
            <a:off x="594360" y="1736998"/>
            <a:ext cx="10122408" cy="915122"/>
          </a:xfrm>
          <a:prstGeom prst="rect">
            <a:avLst/>
          </a:prstGeom>
          <a:solidFill>
            <a:srgbClr val="DDDDDD">
              <a:alpha val="2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825500" hangingPunct="0">
              <a:lnSpc>
                <a:spcPct val="120000"/>
              </a:lnSpc>
            </a:pPr>
            <a:r>
              <a:rPr lang="ja-JP" altLang="es-ES" sz="4400" b="1" spc="-96" dirty="0">
                <a:solidFill>
                  <a:srgbClr val="F8F8F8">
                    <a:lumMod val="10000"/>
                    <a:alpha val="90000"/>
                  </a:srgbClr>
                </a:solidFill>
                <a:sym typeface="Circular Pro Book"/>
              </a:rPr>
              <a:t>非日系企業での活用状況</a:t>
            </a:r>
            <a:endParaRPr lang="es-ES" sz="4400" b="1" spc="-96" dirty="0">
              <a:solidFill>
                <a:srgbClr val="F8F8F8">
                  <a:lumMod val="10000"/>
                  <a:alpha val="90000"/>
                </a:srgbClr>
              </a:solidFill>
              <a:sym typeface="Circular Pro Book"/>
            </a:endParaRPr>
          </a:p>
        </p:txBody>
      </p:sp>
    </p:spTree>
    <p:extLst>
      <p:ext uri="{BB962C8B-B14F-4D97-AF65-F5344CB8AC3E}">
        <p14:creationId xmlns:p14="http://schemas.microsoft.com/office/powerpoint/2010/main" val="3177248994"/>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p:cNvSpPr>
            <a:spLocks noGrp="1"/>
          </p:cNvSpPr>
          <p:nvPr>
            <p:ph type="body" sz="quarter" idx="21"/>
          </p:nvPr>
        </p:nvSpPr>
        <p:spPr/>
        <p:txBody>
          <a:bodyPr/>
          <a:lstStyle/>
          <a:p>
            <a:r>
              <a:rPr lang="es-ES" altLang="ja-JP" dirty="0"/>
              <a:t>00. </a:t>
            </a:r>
            <a:r>
              <a:rPr lang="ja-JP" altLang="es-ES" dirty="0"/>
              <a:t>デモビデオ</a:t>
            </a:r>
            <a:endParaRPr lang="en-GB" dirty="0"/>
          </a:p>
        </p:txBody>
      </p:sp>
      <p:pic>
        <p:nvPicPr>
          <p:cNvPr id="2" name="【コロナ対策応援】入出金伝票を会計ソフトへ入力する業務の自動化">
            <a:hlinkClick r:id="" action="ppaction://media"/>
            <a:extLst>
              <a:ext uri="{FF2B5EF4-FFF2-40B4-BE49-F238E27FC236}">
                <a16:creationId xmlns:a16="http://schemas.microsoft.com/office/drawing/2014/main" id="{A94704B0-3368-9D0F-2D1A-EE5DF06BDE1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0548" y="611580"/>
            <a:ext cx="11870904" cy="6028719"/>
          </a:xfrm>
          <a:prstGeom prst="rect">
            <a:avLst/>
          </a:prstGeom>
        </p:spPr>
      </p:pic>
    </p:spTree>
    <p:extLst>
      <p:ext uri="{BB962C8B-B14F-4D97-AF65-F5344CB8AC3E}">
        <p14:creationId xmlns:p14="http://schemas.microsoft.com/office/powerpoint/2010/main" val="365110197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148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ja-JP" altLang="es-ES" dirty="0"/>
              <a:t>域内各国で</a:t>
            </a:r>
            <a:r>
              <a:rPr lang="es-ES" altLang="ja-JP" dirty="0"/>
              <a:t>RPA</a:t>
            </a:r>
            <a:r>
              <a:rPr lang="ja-JP" altLang="es-ES" dirty="0"/>
              <a:t>による業務効率化を促進</a:t>
            </a:r>
            <a:endParaRPr lang="en-US" dirty="0"/>
          </a:p>
        </p:txBody>
      </p:sp>
      <p:sp>
        <p:nvSpPr>
          <p:cNvPr id="4" name="Marcador de texto 3"/>
          <p:cNvSpPr>
            <a:spLocks noGrp="1"/>
          </p:cNvSpPr>
          <p:nvPr>
            <p:ph type="body" sz="quarter" idx="21"/>
          </p:nvPr>
        </p:nvSpPr>
        <p:spPr/>
        <p:txBody>
          <a:bodyPr/>
          <a:lstStyle/>
          <a:p>
            <a:r>
              <a:rPr lang="es-ES" altLang="ja-JP" dirty="0"/>
              <a:t>01. </a:t>
            </a:r>
            <a:r>
              <a:rPr lang="es-ES" altLang="ja-JP" dirty="0" err="1"/>
              <a:t>LatAm</a:t>
            </a:r>
            <a:r>
              <a:rPr lang="ja-JP" altLang="es-ES" dirty="0"/>
              <a:t>域における自動化プロジェクト（抜粋）</a:t>
            </a:r>
            <a:endParaRPr lang="en-GB" dirty="0"/>
          </a:p>
        </p:txBody>
      </p:sp>
      <p:pic>
        <p:nvPicPr>
          <p:cNvPr id="6" name="Picture 5" descr="Imagen relacionada">
            <a:extLst>
              <a:ext uri="{FF2B5EF4-FFF2-40B4-BE49-F238E27FC236}">
                <a16:creationId xmlns:a16="http://schemas.microsoft.com/office/drawing/2014/main" id="{9BE8894E-E90F-444F-BDA5-3D4A9915D53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288473" y="1430561"/>
            <a:ext cx="3983958" cy="5034660"/>
          </a:xfrm>
          <a:prstGeom prst="rect">
            <a:avLst/>
          </a:prstGeom>
          <a:noFill/>
          <a:extLst>
            <a:ext uri="{909E8E84-426E-40DD-AFC4-6F175D3DCCD1}">
              <a14:hiddenFill xmlns:a14="http://schemas.microsoft.com/office/drawing/2010/main">
                <a:solidFill>
                  <a:srgbClr val="FFFFFF"/>
                </a:solidFill>
              </a14:hiddenFill>
            </a:ext>
          </a:extLst>
        </p:spPr>
      </p:pic>
      <p:sp>
        <p:nvSpPr>
          <p:cNvPr id="7" name="Rectángulo 60">
            <a:extLst>
              <a:ext uri="{FF2B5EF4-FFF2-40B4-BE49-F238E27FC236}">
                <a16:creationId xmlns:a16="http://schemas.microsoft.com/office/drawing/2014/main" id="{F162CFEC-D272-4E52-8950-8B776DB18B37}"/>
              </a:ext>
            </a:extLst>
          </p:cNvPr>
          <p:cNvSpPr/>
          <p:nvPr/>
        </p:nvSpPr>
        <p:spPr>
          <a:xfrm>
            <a:off x="251555" y="2053807"/>
            <a:ext cx="2261568" cy="1443231"/>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pic>
        <p:nvPicPr>
          <p:cNvPr id="8" name="Imagen 61">
            <a:extLst>
              <a:ext uri="{FF2B5EF4-FFF2-40B4-BE49-F238E27FC236}">
                <a16:creationId xmlns:a16="http://schemas.microsoft.com/office/drawing/2014/main" id="{9FF8BFDB-C5FD-4761-81E7-B4DB952F08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849" y="2084120"/>
            <a:ext cx="271037" cy="271037"/>
          </a:xfrm>
          <a:prstGeom prst="rect">
            <a:avLst/>
          </a:prstGeom>
        </p:spPr>
      </p:pic>
      <p:cxnSp>
        <p:nvCxnSpPr>
          <p:cNvPr id="9" name="Conector recto 62">
            <a:extLst>
              <a:ext uri="{FF2B5EF4-FFF2-40B4-BE49-F238E27FC236}">
                <a16:creationId xmlns:a16="http://schemas.microsoft.com/office/drawing/2014/main" id="{D6630BE7-738B-445E-8F30-1856F6A83D70}"/>
              </a:ext>
            </a:extLst>
          </p:cNvPr>
          <p:cNvCxnSpPr>
            <a:stCxn id="7" idx="3"/>
          </p:cNvCxnSpPr>
          <p:nvPr/>
        </p:nvCxnSpPr>
        <p:spPr>
          <a:xfrm>
            <a:off x="2513123" y="2775423"/>
            <a:ext cx="575172" cy="754025"/>
          </a:xfrm>
          <a:prstGeom prst="line">
            <a:avLst/>
          </a:prstGeom>
          <a:noFill/>
          <a:ln w="3175" cap="flat" cmpd="sng" algn="ctr">
            <a:solidFill>
              <a:srgbClr val="505050">
                <a:lumMod val="75000"/>
              </a:srgbClr>
            </a:solidFill>
            <a:prstDash val="solid"/>
            <a:miter lim="800000"/>
            <a:tailEnd type="oval"/>
          </a:ln>
          <a:effectLst/>
        </p:spPr>
      </p:cxnSp>
      <p:sp>
        <p:nvSpPr>
          <p:cNvPr id="10" name="Rectángulo 63">
            <a:extLst>
              <a:ext uri="{FF2B5EF4-FFF2-40B4-BE49-F238E27FC236}">
                <a16:creationId xmlns:a16="http://schemas.microsoft.com/office/drawing/2014/main" id="{DD1DD0D1-6F91-4DF6-8861-B8B9BA7D4EB8}"/>
              </a:ext>
            </a:extLst>
          </p:cNvPr>
          <p:cNvSpPr/>
          <p:nvPr/>
        </p:nvSpPr>
        <p:spPr>
          <a:xfrm>
            <a:off x="4611847" y="2257575"/>
            <a:ext cx="1156925" cy="558151"/>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cxnSp>
        <p:nvCxnSpPr>
          <p:cNvPr id="11" name="Conector recto 64">
            <a:extLst>
              <a:ext uri="{FF2B5EF4-FFF2-40B4-BE49-F238E27FC236}">
                <a16:creationId xmlns:a16="http://schemas.microsoft.com/office/drawing/2014/main" id="{50F0426E-B206-403F-86D3-B12AEC0BD41C}"/>
              </a:ext>
            </a:extLst>
          </p:cNvPr>
          <p:cNvCxnSpPr>
            <a:stCxn id="10" idx="1"/>
          </p:cNvCxnSpPr>
          <p:nvPr/>
        </p:nvCxnSpPr>
        <p:spPr>
          <a:xfrm flipH="1">
            <a:off x="3947699" y="2536651"/>
            <a:ext cx="664148" cy="216322"/>
          </a:xfrm>
          <a:prstGeom prst="line">
            <a:avLst/>
          </a:prstGeom>
          <a:noFill/>
          <a:ln w="3175" cap="flat" cmpd="sng" algn="ctr">
            <a:solidFill>
              <a:srgbClr val="505050">
                <a:lumMod val="75000"/>
              </a:srgbClr>
            </a:solidFill>
            <a:prstDash val="solid"/>
            <a:miter lim="800000"/>
            <a:tailEnd type="oval"/>
          </a:ln>
          <a:effectLst/>
        </p:spPr>
      </p:cxnSp>
      <p:pic>
        <p:nvPicPr>
          <p:cNvPr id="12" name="Imagen 65">
            <a:extLst>
              <a:ext uri="{FF2B5EF4-FFF2-40B4-BE49-F238E27FC236}">
                <a16:creationId xmlns:a16="http://schemas.microsoft.com/office/drawing/2014/main" id="{E7E25F6C-6E94-4402-AE67-06F8FC14FF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71792" y="2275094"/>
            <a:ext cx="246397" cy="246397"/>
          </a:xfrm>
          <a:prstGeom prst="rect">
            <a:avLst/>
          </a:prstGeom>
        </p:spPr>
      </p:pic>
      <p:pic>
        <p:nvPicPr>
          <p:cNvPr id="13" name="Picture 6" descr="Resultado de imagen de altan redes logo">
            <a:extLst>
              <a:ext uri="{FF2B5EF4-FFF2-40B4-BE49-F238E27FC236}">
                <a16:creationId xmlns:a16="http://schemas.microsoft.com/office/drawing/2014/main" id="{28338913-6811-4536-A99C-CF4913A2659E}"/>
              </a:ext>
            </a:extLst>
          </p:cNvPr>
          <p:cNvPicPr>
            <a:picLocks noChangeAspect="1" noChangeArrowheads="1"/>
          </p:cNvPicPr>
          <p:nvPr/>
        </p:nvPicPr>
        <p:blipFill rotWithShape="1">
          <a:blip r:embed="rId5"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881636" y="2167832"/>
            <a:ext cx="496448" cy="24194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Resultado de imagen para profuturo logo">
            <a:extLst>
              <a:ext uri="{FF2B5EF4-FFF2-40B4-BE49-F238E27FC236}">
                <a16:creationId xmlns:a16="http://schemas.microsoft.com/office/drawing/2014/main" id="{5A444E1F-E7B3-4493-B862-8B28F99FA816}"/>
              </a:ext>
            </a:extLst>
          </p:cNvPr>
          <p:cNvPicPr>
            <a:picLocks noChangeAspect="1" noChangeArrowheads="1"/>
          </p:cNvPicPr>
          <p:nvPr/>
        </p:nvPicPr>
        <p:blipFill rotWithShape="1">
          <a:blip r:embed="rId6" cstate="print">
            <a:biLevel thresh="75000"/>
            <a:extLst>
              <a:ext uri="{28A0092B-C50C-407E-A947-70E740481C1C}">
                <a14:useLocalDpi xmlns:a14="http://schemas.microsoft.com/office/drawing/2010/main" val="0"/>
              </a:ext>
            </a:extLst>
          </a:blip>
          <a:srcRect/>
          <a:stretch/>
        </p:blipFill>
        <p:spPr bwMode="auto">
          <a:xfrm>
            <a:off x="664056" y="2491327"/>
            <a:ext cx="608170" cy="24396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7" descr="Imagen relacionada">
            <a:extLst>
              <a:ext uri="{FF2B5EF4-FFF2-40B4-BE49-F238E27FC236}">
                <a16:creationId xmlns:a16="http://schemas.microsoft.com/office/drawing/2014/main" id="{AC258FA6-2284-4A82-A758-E47FFBDA25A1}"/>
              </a:ext>
            </a:extLst>
          </p:cNvPr>
          <p:cNvPicPr>
            <a:picLocks noChangeAspect="1" noChangeArrowheads="1"/>
          </p:cNvPicPr>
          <p:nvPr/>
        </p:nvPicPr>
        <p:blipFill>
          <a:blip r:embed="rId7"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1388367" y="2784619"/>
            <a:ext cx="843677" cy="34203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9" descr="Resultado de imagen para movistar logo">
            <a:extLst>
              <a:ext uri="{FF2B5EF4-FFF2-40B4-BE49-F238E27FC236}">
                <a16:creationId xmlns:a16="http://schemas.microsoft.com/office/drawing/2014/main" id="{E3D0712F-6DDC-4939-ACD7-167E07771868}"/>
              </a:ext>
            </a:extLst>
          </p:cNvPr>
          <p:cNvPicPr>
            <a:picLocks noChangeAspect="1" noChangeArrowheads="1"/>
          </p:cNvPicPr>
          <p:nvPr/>
        </p:nvPicPr>
        <p:blipFill rotWithShape="1">
          <a:blip r:embed="rId8"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1559128" y="2132373"/>
            <a:ext cx="386475" cy="31106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1" descr="Resultado de imagen para banco santander logo">
            <a:extLst>
              <a:ext uri="{FF2B5EF4-FFF2-40B4-BE49-F238E27FC236}">
                <a16:creationId xmlns:a16="http://schemas.microsoft.com/office/drawing/2014/main" id="{7F110C19-C11F-4AB3-BB9A-109445DA106C}"/>
              </a:ext>
            </a:extLst>
          </p:cNvPr>
          <p:cNvPicPr>
            <a:picLocks noChangeAspect="1" noChangeArrowheads="1"/>
          </p:cNvPicPr>
          <p:nvPr/>
        </p:nvPicPr>
        <p:blipFill>
          <a:blip r:embed="rId9" cstate="print">
            <a:biLevel thresh="75000"/>
            <a:extLst>
              <a:ext uri="{28A0092B-C50C-407E-A947-70E740481C1C}">
                <a14:useLocalDpi xmlns:a14="http://schemas.microsoft.com/office/drawing/2010/main" val="0"/>
              </a:ext>
            </a:extLst>
          </a:blip>
          <a:srcRect/>
          <a:stretch>
            <a:fillRect/>
          </a:stretch>
        </p:blipFill>
        <p:spPr bwMode="auto">
          <a:xfrm>
            <a:off x="404933" y="3176735"/>
            <a:ext cx="608753" cy="20941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5" descr="Resultado de imagen de avangrid logo">
            <a:extLst>
              <a:ext uri="{FF2B5EF4-FFF2-40B4-BE49-F238E27FC236}">
                <a16:creationId xmlns:a16="http://schemas.microsoft.com/office/drawing/2014/main" id="{14AFA3E5-4D1C-422A-9D75-9603BC73D163}"/>
              </a:ext>
            </a:extLst>
          </p:cNvPr>
          <p:cNvPicPr>
            <a:picLocks noChangeAspect="1" noChangeArrowheads="1"/>
          </p:cNvPicPr>
          <p:nvPr/>
        </p:nvPicPr>
        <p:blipFill>
          <a:blip r:embed="rId10"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5017946" y="2432122"/>
            <a:ext cx="570053" cy="298707"/>
          </a:xfrm>
          <a:prstGeom prst="rect">
            <a:avLst/>
          </a:prstGeom>
          <a:noFill/>
          <a:extLst>
            <a:ext uri="{909E8E84-426E-40DD-AFC4-6F175D3DCCD1}">
              <a14:hiddenFill xmlns:a14="http://schemas.microsoft.com/office/drawing/2010/main">
                <a:solidFill>
                  <a:srgbClr val="FFFFFF"/>
                </a:solidFill>
              </a14:hiddenFill>
            </a:ext>
          </a:extLst>
        </p:spPr>
      </p:pic>
      <p:sp>
        <p:nvSpPr>
          <p:cNvPr id="19" name="Rectángulo 72">
            <a:extLst>
              <a:ext uri="{FF2B5EF4-FFF2-40B4-BE49-F238E27FC236}">
                <a16:creationId xmlns:a16="http://schemas.microsoft.com/office/drawing/2014/main" id="{1CF9A2E4-0E5C-4280-81EE-3D0207F6DBC7}"/>
              </a:ext>
            </a:extLst>
          </p:cNvPr>
          <p:cNvSpPr/>
          <p:nvPr/>
        </p:nvSpPr>
        <p:spPr>
          <a:xfrm>
            <a:off x="4940099" y="5370754"/>
            <a:ext cx="1961596" cy="1039819"/>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cxnSp>
        <p:nvCxnSpPr>
          <p:cNvPr id="20" name="Conector recto 73">
            <a:extLst>
              <a:ext uri="{FF2B5EF4-FFF2-40B4-BE49-F238E27FC236}">
                <a16:creationId xmlns:a16="http://schemas.microsoft.com/office/drawing/2014/main" id="{8E53336A-3327-4B46-B1A6-02A2F76C5475}"/>
              </a:ext>
            </a:extLst>
          </p:cNvPr>
          <p:cNvCxnSpPr>
            <a:stCxn id="19" idx="1"/>
          </p:cNvCxnSpPr>
          <p:nvPr/>
        </p:nvCxnSpPr>
        <p:spPr>
          <a:xfrm flipH="1" flipV="1">
            <a:off x="4205271" y="5696030"/>
            <a:ext cx="734828" cy="194634"/>
          </a:xfrm>
          <a:prstGeom prst="line">
            <a:avLst/>
          </a:prstGeom>
          <a:noFill/>
          <a:ln w="3175" cap="flat" cmpd="sng" algn="ctr">
            <a:solidFill>
              <a:srgbClr val="505050">
                <a:lumMod val="75000"/>
              </a:srgbClr>
            </a:solidFill>
            <a:prstDash val="solid"/>
            <a:miter lim="800000"/>
            <a:tailEnd type="oval"/>
          </a:ln>
          <a:effectLst/>
        </p:spPr>
      </p:cxnSp>
      <p:pic>
        <p:nvPicPr>
          <p:cNvPr id="21" name="Imagen 74">
            <a:extLst>
              <a:ext uri="{FF2B5EF4-FFF2-40B4-BE49-F238E27FC236}">
                <a16:creationId xmlns:a16="http://schemas.microsoft.com/office/drawing/2014/main" id="{B477CAB9-0962-4891-9848-00202AC11F8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91510" y="5411688"/>
            <a:ext cx="246397" cy="246397"/>
          </a:xfrm>
          <a:prstGeom prst="rect">
            <a:avLst/>
          </a:prstGeom>
        </p:spPr>
      </p:pic>
      <p:pic>
        <p:nvPicPr>
          <p:cNvPr id="22" name="Picture 28" descr="Resultado de imagen de abinbev logo">
            <a:extLst>
              <a:ext uri="{FF2B5EF4-FFF2-40B4-BE49-F238E27FC236}">
                <a16:creationId xmlns:a16="http://schemas.microsoft.com/office/drawing/2014/main" id="{E50661C5-0FFC-4EA6-AEF7-5DED49488567}"/>
              </a:ext>
            </a:extLst>
          </p:cNvPr>
          <p:cNvPicPr>
            <a:picLocks noChangeAspect="1" noChangeArrowheads="1"/>
          </p:cNvPicPr>
          <p:nvPr/>
        </p:nvPicPr>
        <p:blipFill>
          <a:blip r:embed="rId12" cstate="print">
            <a:biLevel thresh="75000"/>
            <a:extLst>
              <a:ext uri="{28A0092B-C50C-407E-A947-70E740481C1C}">
                <a14:useLocalDpi xmlns:a14="http://schemas.microsoft.com/office/drawing/2010/main" val="0"/>
              </a:ext>
            </a:extLst>
          </a:blip>
          <a:srcRect/>
          <a:stretch>
            <a:fillRect/>
          </a:stretch>
        </p:blipFill>
        <p:spPr bwMode="auto">
          <a:xfrm>
            <a:off x="1897227" y="3143008"/>
            <a:ext cx="595488" cy="26002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3" descr="Resultado de imagen de ypf logo">
            <a:extLst>
              <a:ext uri="{FF2B5EF4-FFF2-40B4-BE49-F238E27FC236}">
                <a16:creationId xmlns:a16="http://schemas.microsoft.com/office/drawing/2014/main" id="{989E8B89-19C9-4617-99B6-32A740FDD68D}"/>
              </a:ext>
            </a:extLst>
          </p:cNvPr>
          <p:cNvPicPr>
            <a:picLocks noChangeAspect="1" noChangeArrowheads="1"/>
          </p:cNvPicPr>
          <p:nvPr/>
        </p:nvPicPr>
        <p:blipFill>
          <a:blip r:embed="rId13" cstate="print">
            <a:biLevel thresh="75000"/>
            <a:extLst>
              <a:ext uri="{28A0092B-C50C-407E-A947-70E740481C1C}">
                <a14:useLocalDpi xmlns:a14="http://schemas.microsoft.com/office/drawing/2010/main" val="0"/>
              </a:ext>
            </a:extLst>
          </a:blip>
          <a:srcRect/>
          <a:stretch>
            <a:fillRect/>
          </a:stretch>
        </p:blipFill>
        <p:spPr bwMode="auto">
          <a:xfrm>
            <a:off x="5368452" y="5461851"/>
            <a:ext cx="524948" cy="20423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5" descr="Resultado de imagen para telefonica argentina logo">
            <a:extLst>
              <a:ext uri="{FF2B5EF4-FFF2-40B4-BE49-F238E27FC236}">
                <a16:creationId xmlns:a16="http://schemas.microsoft.com/office/drawing/2014/main" id="{5CB47C41-CD0F-4E76-BB49-E66AFC1F0EF5}"/>
              </a:ext>
            </a:extLst>
          </p:cNvPr>
          <p:cNvPicPr>
            <a:picLocks noChangeAspect="1" noChangeArrowheads="1"/>
          </p:cNvPicPr>
          <p:nvPr/>
        </p:nvPicPr>
        <p:blipFill rotWithShape="1">
          <a:blip r:embed="rId14"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5939895" y="5779893"/>
            <a:ext cx="804779" cy="24465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7" descr="Resultado de imagen de meridional seguros logo">
            <a:extLst>
              <a:ext uri="{FF2B5EF4-FFF2-40B4-BE49-F238E27FC236}">
                <a16:creationId xmlns:a16="http://schemas.microsoft.com/office/drawing/2014/main" id="{F9A2BA89-CD76-4FCE-B83E-01010A44D0E8}"/>
              </a:ext>
            </a:extLst>
          </p:cNvPr>
          <p:cNvPicPr>
            <a:picLocks noChangeAspect="1" noChangeArrowheads="1"/>
          </p:cNvPicPr>
          <p:nvPr/>
        </p:nvPicPr>
        <p:blipFill>
          <a:blip r:embed="rId15"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5925971" y="6105866"/>
            <a:ext cx="850987" cy="223385"/>
          </a:xfrm>
          <a:prstGeom prst="rect">
            <a:avLst/>
          </a:prstGeom>
          <a:noFill/>
          <a:extLst>
            <a:ext uri="{909E8E84-426E-40DD-AFC4-6F175D3DCCD1}">
              <a14:hiddenFill xmlns:a14="http://schemas.microsoft.com/office/drawing/2010/main">
                <a:solidFill>
                  <a:srgbClr val="FFFFFF"/>
                </a:solidFill>
              </a14:hiddenFill>
            </a:ext>
          </a:extLst>
        </p:spPr>
      </p:pic>
      <p:sp>
        <p:nvSpPr>
          <p:cNvPr id="26" name="Rectángulo 79">
            <a:extLst>
              <a:ext uri="{FF2B5EF4-FFF2-40B4-BE49-F238E27FC236}">
                <a16:creationId xmlns:a16="http://schemas.microsoft.com/office/drawing/2014/main" id="{DB6E130E-B011-4D8C-9B87-F73B87D7F5A4}"/>
              </a:ext>
            </a:extLst>
          </p:cNvPr>
          <p:cNvSpPr/>
          <p:nvPr/>
        </p:nvSpPr>
        <p:spPr>
          <a:xfrm>
            <a:off x="5359438" y="3095605"/>
            <a:ext cx="1603007" cy="2190147"/>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pic>
        <p:nvPicPr>
          <p:cNvPr id="27" name="Imagen 80">
            <a:extLst>
              <a:ext uri="{FF2B5EF4-FFF2-40B4-BE49-F238E27FC236}">
                <a16:creationId xmlns:a16="http://schemas.microsoft.com/office/drawing/2014/main" id="{5420921E-6026-4506-BDBB-58617F350DE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427149" y="3130421"/>
            <a:ext cx="284589" cy="284589"/>
          </a:xfrm>
          <a:prstGeom prst="rect">
            <a:avLst/>
          </a:prstGeom>
        </p:spPr>
      </p:pic>
      <p:cxnSp>
        <p:nvCxnSpPr>
          <p:cNvPr id="28" name="Conector recto 81">
            <a:extLst>
              <a:ext uri="{FF2B5EF4-FFF2-40B4-BE49-F238E27FC236}">
                <a16:creationId xmlns:a16="http://schemas.microsoft.com/office/drawing/2014/main" id="{FB1C4AFA-F9A7-412F-BCEA-51185C898D4D}"/>
              </a:ext>
            </a:extLst>
          </p:cNvPr>
          <p:cNvCxnSpPr>
            <a:cxnSpLocks/>
            <a:stCxn id="26" idx="1"/>
          </p:cNvCxnSpPr>
          <p:nvPr/>
        </p:nvCxnSpPr>
        <p:spPr>
          <a:xfrm flipH="1">
            <a:off x="4600876" y="4190679"/>
            <a:ext cx="758562" cy="882430"/>
          </a:xfrm>
          <a:prstGeom prst="line">
            <a:avLst/>
          </a:prstGeom>
          <a:noFill/>
          <a:ln w="3175" cap="flat" cmpd="sng" algn="ctr">
            <a:solidFill>
              <a:srgbClr val="505050">
                <a:lumMod val="75000"/>
              </a:srgbClr>
            </a:solidFill>
            <a:prstDash val="solid"/>
            <a:miter lim="800000"/>
            <a:tailEnd type="oval"/>
          </a:ln>
          <a:effectLst/>
        </p:spPr>
      </p:cxnSp>
      <p:pic>
        <p:nvPicPr>
          <p:cNvPr id="29" name="Picture 40" descr="Resultado de imagen de bradesco seguros logo">
            <a:extLst>
              <a:ext uri="{FF2B5EF4-FFF2-40B4-BE49-F238E27FC236}">
                <a16:creationId xmlns:a16="http://schemas.microsoft.com/office/drawing/2014/main" id="{402D5247-1C45-41B2-BFF2-F0840AF7DA4C}"/>
              </a:ext>
            </a:extLst>
          </p:cNvPr>
          <p:cNvPicPr>
            <a:picLocks noChangeAspect="1" noChangeArrowheads="1"/>
          </p:cNvPicPr>
          <p:nvPr/>
        </p:nvPicPr>
        <p:blipFill>
          <a:blip r:embed="rId17"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5404284" y="3937589"/>
            <a:ext cx="432000" cy="432000"/>
          </a:xfrm>
          <a:prstGeom prst="rect">
            <a:avLst/>
          </a:prstGeom>
          <a:noFill/>
          <a:extLst>
            <a:ext uri="{909E8E84-426E-40DD-AFC4-6F175D3DCCD1}">
              <a14:hiddenFill xmlns:a14="http://schemas.microsoft.com/office/drawing/2010/main">
                <a:solidFill>
                  <a:srgbClr val="FFFFFF"/>
                </a:solidFill>
              </a14:hiddenFill>
            </a:ext>
          </a:extLst>
        </p:spPr>
      </p:pic>
      <p:sp>
        <p:nvSpPr>
          <p:cNvPr id="30" name="Rectángulo 85">
            <a:extLst>
              <a:ext uri="{FF2B5EF4-FFF2-40B4-BE49-F238E27FC236}">
                <a16:creationId xmlns:a16="http://schemas.microsoft.com/office/drawing/2014/main" id="{F03060F4-21AF-4002-A7CE-067818B755C3}"/>
              </a:ext>
            </a:extLst>
          </p:cNvPr>
          <p:cNvSpPr/>
          <p:nvPr/>
        </p:nvSpPr>
        <p:spPr>
          <a:xfrm>
            <a:off x="1966969" y="5511529"/>
            <a:ext cx="1837229" cy="953692"/>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cxnSp>
        <p:nvCxnSpPr>
          <p:cNvPr id="31" name="Conector recto 87">
            <a:extLst>
              <a:ext uri="{FF2B5EF4-FFF2-40B4-BE49-F238E27FC236}">
                <a16:creationId xmlns:a16="http://schemas.microsoft.com/office/drawing/2014/main" id="{474CE81B-5D1E-41DE-A439-A2A116B70BEA}"/>
              </a:ext>
            </a:extLst>
          </p:cNvPr>
          <p:cNvCxnSpPr>
            <a:stCxn id="30" idx="3"/>
          </p:cNvCxnSpPr>
          <p:nvPr/>
        </p:nvCxnSpPr>
        <p:spPr>
          <a:xfrm flipV="1">
            <a:off x="3804198" y="5647405"/>
            <a:ext cx="153855" cy="340970"/>
          </a:xfrm>
          <a:prstGeom prst="line">
            <a:avLst/>
          </a:prstGeom>
          <a:noFill/>
          <a:ln w="3175" cap="flat" cmpd="sng" algn="ctr">
            <a:solidFill>
              <a:srgbClr val="505050">
                <a:lumMod val="75000"/>
              </a:srgbClr>
            </a:solidFill>
            <a:prstDash val="solid"/>
            <a:miter lim="800000"/>
            <a:tailEnd type="oval"/>
          </a:ln>
          <a:effectLst/>
        </p:spPr>
      </p:cxnSp>
      <p:pic>
        <p:nvPicPr>
          <p:cNvPr id="32" name="Imagen 88">
            <a:extLst>
              <a:ext uri="{FF2B5EF4-FFF2-40B4-BE49-F238E27FC236}">
                <a16:creationId xmlns:a16="http://schemas.microsoft.com/office/drawing/2014/main" id="{CDE37DC9-43F6-4012-AD05-6C6C7DCD429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029597" y="5539352"/>
            <a:ext cx="298141" cy="298141"/>
          </a:xfrm>
          <a:prstGeom prst="rect">
            <a:avLst/>
          </a:prstGeom>
        </p:spPr>
      </p:pic>
      <p:pic>
        <p:nvPicPr>
          <p:cNvPr id="33" name="Picture 48" descr="Resultado de imagen de entel logo">
            <a:extLst>
              <a:ext uri="{FF2B5EF4-FFF2-40B4-BE49-F238E27FC236}">
                <a16:creationId xmlns:a16="http://schemas.microsoft.com/office/drawing/2014/main" id="{318E8F96-1EA4-4D74-A82D-7D980346A470}"/>
              </a:ext>
            </a:extLst>
          </p:cNvPr>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2700505" y="6254068"/>
            <a:ext cx="616252" cy="15036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2" descr="Imagen relacionada">
            <a:extLst>
              <a:ext uri="{FF2B5EF4-FFF2-40B4-BE49-F238E27FC236}">
                <a16:creationId xmlns:a16="http://schemas.microsoft.com/office/drawing/2014/main" id="{B25146FF-0600-407E-8972-744BF5C89CB1}"/>
              </a:ext>
            </a:extLst>
          </p:cNvPr>
          <p:cNvPicPr>
            <a:picLocks noChangeAspect="1" noChangeArrowheads="1"/>
          </p:cNvPicPr>
          <p:nvPr/>
        </p:nvPicPr>
        <p:blipFill rotWithShape="1">
          <a:blip r:embed="rId20"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2427660" y="5564697"/>
            <a:ext cx="527472" cy="27818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5" descr="Resultado de imagen para claro logo">
            <a:extLst>
              <a:ext uri="{FF2B5EF4-FFF2-40B4-BE49-F238E27FC236}">
                <a16:creationId xmlns:a16="http://schemas.microsoft.com/office/drawing/2014/main" id="{8658831F-283B-41A4-9712-4C7921892187}"/>
              </a:ext>
            </a:extLst>
          </p:cNvPr>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3409594" y="5842880"/>
            <a:ext cx="300225" cy="30022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descr="Resultado de imagen para telefonica argentina logo">
            <a:extLst>
              <a:ext uri="{FF2B5EF4-FFF2-40B4-BE49-F238E27FC236}">
                <a16:creationId xmlns:a16="http://schemas.microsoft.com/office/drawing/2014/main" id="{5CB792EB-9628-4793-9ABC-C341C7DB9092}"/>
              </a:ext>
            </a:extLst>
          </p:cNvPr>
          <p:cNvPicPr>
            <a:picLocks noChangeAspect="1" noChangeArrowheads="1"/>
          </p:cNvPicPr>
          <p:nvPr/>
        </p:nvPicPr>
        <p:blipFill rotWithShape="1">
          <a:blip r:embed="rId22"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3033842" y="5565252"/>
            <a:ext cx="731617" cy="222411"/>
          </a:xfrm>
          <a:prstGeom prst="rect">
            <a:avLst/>
          </a:prstGeom>
          <a:noFill/>
          <a:extLst>
            <a:ext uri="{909E8E84-426E-40DD-AFC4-6F175D3DCCD1}">
              <a14:hiddenFill xmlns:a14="http://schemas.microsoft.com/office/drawing/2010/main">
                <a:solidFill>
                  <a:srgbClr val="FFFFFF"/>
                </a:solidFill>
              </a14:hiddenFill>
            </a:ext>
          </a:extLst>
        </p:spPr>
      </p:pic>
      <p:sp>
        <p:nvSpPr>
          <p:cNvPr id="37" name="Rectángulo 98">
            <a:extLst>
              <a:ext uri="{FF2B5EF4-FFF2-40B4-BE49-F238E27FC236}">
                <a16:creationId xmlns:a16="http://schemas.microsoft.com/office/drawing/2014/main" id="{1EAD4EA9-65F6-44ED-BCF4-A87CA2C025E9}"/>
              </a:ext>
            </a:extLst>
          </p:cNvPr>
          <p:cNvSpPr/>
          <p:nvPr/>
        </p:nvSpPr>
        <p:spPr>
          <a:xfrm>
            <a:off x="1569300" y="4519085"/>
            <a:ext cx="1837229" cy="913727"/>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cxnSp>
        <p:nvCxnSpPr>
          <p:cNvPr id="38" name="Conector recto 99">
            <a:extLst>
              <a:ext uri="{FF2B5EF4-FFF2-40B4-BE49-F238E27FC236}">
                <a16:creationId xmlns:a16="http://schemas.microsoft.com/office/drawing/2014/main" id="{0572D4EC-36DF-4011-8E53-552B5BE366E9}"/>
              </a:ext>
            </a:extLst>
          </p:cNvPr>
          <p:cNvCxnSpPr>
            <a:stCxn id="37" idx="3"/>
          </p:cNvCxnSpPr>
          <p:nvPr/>
        </p:nvCxnSpPr>
        <p:spPr>
          <a:xfrm flipV="1">
            <a:off x="3406529" y="4711993"/>
            <a:ext cx="506973" cy="263956"/>
          </a:xfrm>
          <a:prstGeom prst="line">
            <a:avLst/>
          </a:prstGeom>
          <a:noFill/>
          <a:ln w="3175" cap="flat" cmpd="sng" algn="ctr">
            <a:solidFill>
              <a:srgbClr val="505050">
                <a:lumMod val="75000"/>
              </a:srgbClr>
            </a:solidFill>
            <a:prstDash val="solid"/>
            <a:miter lim="800000"/>
            <a:tailEnd type="oval"/>
          </a:ln>
          <a:effectLst/>
        </p:spPr>
      </p:cxnSp>
      <p:pic>
        <p:nvPicPr>
          <p:cNvPr id="39" name="Imagen 100">
            <a:extLst>
              <a:ext uri="{FF2B5EF4-FFF2-40B4-BE49-F238E27FC236}">
                <a16:creationId xmlns:a16="http://schemas.microsoft.com/office/drawing/2014/main" id="{B6EE784D-0A88-4654-87C2-E368F609ED84}"/>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619229" y="4555264"/>
            <a:ext cx="298141" cy="298141"/>
          </a:xfrm>
          <a:prstGeom prst="rect">
            <a:avLst/>
          </a:prstGeom>
        </p:spPr>
      </p:pic>
      <p:pic>
        <p:nvPicPr>
          <p:cNvPr id="40" name="Picture 58" descr="Resultado de imagen de bcp logo">
            <a:extLst>
              <a:ext uri="{FF2B5EF4-FFF2-40B4-BE49-F238E27FC236}">
                <a16:creationId xmlns:a16="http://schemas.microsoft.com/office/drawing/2014/main" id="{DADF0B7D-8D2A-4B72-BBED-1C868281BBCF}"/>
              </a:ext>
            </a:extLst>
          </p:cNvPr>
          <p:cNvPicPr>
            <a:picLocks noChangeAspect="1" noChangeArrowheads="1"/>
          </p:cNvPicPr>
          <p:nvPr/>
        </p:nvPicPr>
        <p:blipFill>
          <a:blip r:embed="rId24" cstate="print">
            <a:biLevel thresh="75000"/>
            <a:extLst>
              <a:ext uri="{28A0092B-C50C-407E-A947-70E740481C1C}">
                <a14:useLocalDpi xmlns:a14="http://schemas.microsoft.com/office/drawing/2010/main" val="0"/>
              </a:ext>
            </a:extLst>
          </a:blip>
          <a:srcRect/>
          <a:stretch>
            <a:fillRect/>
          </a:stretch>
        </p:blipFill>
        <p:spPr bwMode="auto">
          <a:xfrm>
            <a:off x="1666417" y="5164189"/>
            <a:ext cx="541353" cy="18586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8" descr="Resultado de imagen de entel logo">
            <a:extLst>
              <a:ext uri="{FF2B5EF4-FFF2-40B4-BE49-F238E27FC236}">
                <a16:creationId xmlns:a16="http://schemas.microsoft.com/office/drawing/2014/main" id="{E49BE3CF-E5EB-4442-9201-D457189BE760}"/>
              </a:ext>
            </a:extLst>
          </p:cNvPr>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1693319" y="4919168"/>
            <a:ext cx="616252" cy="15036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0" descr="Resultado de imagen de alicorp logo">
            <a:extLst>
              <a:ext uri="{FF2B5EF4-FFF2-40B4-BE49-F238E27FC236}">
                <a16:creationId xmlns:a16="http://schemas.microsoft.com/office/drawing/2014/main" id="{17EBB953-67C7-4F41-A0BE-C28A88600164}"/>
              </a:ext>
            </a:extLst>
          </p:cNvPr>
          <p:cNvPicPr>
            <a:picLocks noChangeAspect="1" noChangeArrowheads="1"/>
          </p:cNvPicPr>
          <p:nvPr/>
        </p:nvPicPr>
        <p:blipFill>
          <a:blip r:embed="rId25" cstate="print">
            <a:biLevel thresh="75000"/>
            <a:extLst>
              <a:ext uri="{28A0092B-C50C-407E-A947-70E740481C1C}">
                <a14:useLocalDpi xmlns:a14="http://schemas.microsoft.com/office/drawing/2010/main" val="0"/>
              </a:ext>
            </a:extLst>
          </a:blip>
          <a:srcRect/>
          <a:stretch>
            <a:fillRect/>
          </a:stretch>
        </p:blipFill>
        <p:spPr bwMode="auto">
          <a:xfrm>
            <a:off x="2708184" y="4613038"/>
            <a:ext cx="577443" cy="16466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5" descr="Resultado de imagen para telefonica argentina logo">
            <a:extLst>
              <a:ext uri="{FF2B5EF4-FFF2-40B4-BE49-F238E27FC236}">
                <a16:creationId xmlns:a16="http://schemas.microsoft.com/office/drawing/2014/main" id="{D333E135-82D4-4E59-86B0-2F1D262AD8E4}"/>
              </a:ext>
            </a:extLst>
          </p:cNvPr>
          <p:cNvPicPr>
            <a:picLocks noChangeAspect="1" noChangeArrowheads="1"/>
          </p:cNvPicPr>
          <p:nvPr/>
        </p:nvPicPr>
        <p:blipFill rotWithShape="1">
          <a:blip r:embed="rId26"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2402567" y="5164760"/>
            <a:ext cx="665106" cy="202192"/>
          </a:xfrm>
          <a:prstGeom prst="rect">
            <a:avLst/>
          </a:prstGeom>
          <a:noFill/>
          <a:extLst>
            <a:ext uri="{909E8E84-426E-40DD-AFC4-6F175D3DCCD1}">
              <a14:hiddenFill xmlns:a14="http://schemas.microsoft.com/office/drawing/2010/main">
                <a:solidFill>
                  <a:srgbClr val="FFFFFF"/>
                </a:solidFill>
              </a14:hiddenFill>
            </a:ext>
          </a:extLst>
        </p:spPr>
      </p:pic>
      <p:sp>
        <p:nvSpPr>
          <p:cNvPr id="44" name="Rectángulo 105">
            <a:extLst>
              <a:ext uri="{FF2B5EF4-FFF2-40B4-BE49-F238E27FC236}">
                <a16:creationId xmlns:a16="http://schemas.microsoft.com/office/drawing/2014/main" id="{2D66222B-B491-4280-B892-F53D685782AE}"/>
              </a:ext>
            </a:extLst>
          </p:cNvPr>
          <p:cNvSpPr/>
          <p:nvPr/>
        </p:nvSpPr>
        <p:spPr>
          <a:xfrm>
            <a:off x="798333" y="3593708"/>
            <a:ext cx="1837229" cy="851751"/>
          </a:xfrm>
          <a:prstGeom prst="rect">
            <a:avLst/>
          </a:prstGeom>
          <a:solidFill>
            <a:srgbClr val="FFFFFF"/>
          </a:solidFill>
          <a:ln w="3175" cap="flat" cmpd="sng" algn="ctr">
            <a:solidFill>
              <a:srgbClr val="505050">
                <a:lumMod val="60000"/>
                <a:lumOff val="40000"/>
              </a:srgbClr>
            </a:solidFill>
            <a:prstDash val="solid"/>
            <a:miter lim="800000"/>
          </a:ln>
          <a:effectLst/>
        </p:spPr>
        <p:txBody>
          <a:bodyPr tIns="90000" rtlCol="0" anchor="t"/>
          <a:lstStyle/>
          <a:p>
            <a:pPr marL="268288" marR="0" lvl="0" indent="0" defTabSz="914400" eaLnBrk="1" fontAlgn="auto" latinLnBrk="0" hangingPunct="1">
              <a:lnSpc>
                <a:spcPct val="100000"/>
              </a:lnSpc>
              <a:spcBef>
                <a:spcPts val="0"/>
              </a:spcBef>
              <a:spcAft>
                <a:spcPts val="0"/>
              </a:spcAft>
              <a:buClrTx/>
              <a:buSzTx/>
              <a:buFontTx/>
              <a:buNone/>
              <a:tabLst/>
              <a:defRPr/>
            </a:pPr>
            <a:endParaRPr kumimoji="0" lang="es-MX" sz="1100" b="1" i="1" u="none" strike="noStrike" kern="0" cap="none" spc="0" normalizeH="0" baseline="0" noProof="0" dirty="0">
              <a:ln>
                <a:noFill/>
              </a:ln>
              <a:solidFill>
                <a:srgbClr val="505050">
                  <a:lumMod val="50000"/>
                </a:srgbClr>
              </a:solidFill>
              <a:effectLst/>
              <a:uLnTx/>
              <a:uFillTx/>
              <a:latin typeface="Century Gothic" panose="020F0302020204030204"/>
              <a:ea typeface="+mn-ea"/>
              <a:cs typeface="+mn-cs"/>
            </a:endParaRPr>
          </a:p>
        </p:txBody>
      </p:sp>
      <p:cxnSp>
        <p:nvCxnSpPr>
          <p:cNvPr id="45" name="Conector recto 106">
            <a:extLst>
              <a:ext uri="{FF2B5EF4-FFF2-40B4-BE49-F238E27FC236}">
                <a16:creationId xmlns:a16="http://schemas.microsoft.com/office/drawing/2014/main" id="{916B1957-05AF-424E-9ED7-0CCBA132D1AB}"/>
              </a:ext>
            </a:extLst>
          </p:cNvPr>
          <p:cNvCxnSpPr/>
          <p:nvPr/>
        </p:nvCxnSpPr>
        <p:spPr>
          <a:xfrm>
            <a:off x="2626597" y="4019584"/>
            <a:ext cx="1209173" cy="51201"/>
          </a:xfrm>
          <a:prstGeom prst="line">
            <a:avLst/>
          </a:prstGeom>
          <a:noFill/>
          <a:ln w="3175" cap="flat" cmpd="sng" algn="ctr">
            <a:solidFill>
              <a:srgbClr val="505050">
                <a:lumMod val="75000"/>
              </a:srgbClr>
            </a:solidFill>
            <a:prstDash val="solid"/>
            <a:miter lim="800000"/>
            <a:tailEnd type="oval"/>
          </a:ln>
          <a:effectLst/>
        </p:spPr>
      </p:cxnSp>
      <p:pic>
        <p:nvPicPr>
          <p:cNvPr id="46" name="Imagen 107">
            <a:extLst>
              <a:ext uri="{FF2B5EF4-FFF2-40B4-BE49-F238E27FC236}">
                <a16:creationId xmlns:a16="http://schemas.microsoft.com/office/drawing/2014/main" id="{2556048B-7619-43E7-8934-E2C5A948E618}"/>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38963" y="3596733"/>
            <a:ext cx="298141" cy="298141"/>
          </a:xfrm>
          <a:prstGeom prst="rect">
            <a:avLst/>
          </a:prstGeom>
        </p:spPr>
      </p:pic>
      <p:pic>
        <p:nvPicPr>
          <p:cNvPr id="47" name="Picture 35" descr="Resultado de imagen para telefonica argentina logo">
            <a:extLst>
              <a:ext uri="{FF2B5EF4-FFF2-40B4-BE49-F238E27FC236}">
                <a16:creationId xmlns:a16="http://schemas.microsoft.com/office/drawing/2014/main" id="{29E0F7B2-A0BC-4F06-B0C0-824D1A8BB549}"/>
              </a:ext>
            </a:extLst>
          </p:cNvPr>
          <p:cNvPicPr>
            <a:picLocks noChangeAspect="1" noChangeArrowheads="1"/>
          </p:cNvPicPr>
          <p:nvPr/>
        </p:nvPicPr>
        <p:blipFill rotWithShape="1">
          <a:blip r:embed="rId28"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p:blipFill>
        <p:spPr bwMode="auto">
          <a:xfrm>
            <a:off x="853105" y="4017650"/>
            <a:ext cx="604642" cy="18381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5" descr="Resultado de imagen de allianz logo">
            <a:extLst>
              <a:ext uri="{FF2B5EF4-FFF2-40B4-BE49-F238E27FC236}">
                <a16:creationId xmlns:a16="http://schemas.microsoft.com/office/drawing/2014/main" id="{F55942BC-C96C-42E7-9CE1-AF52D7A04684}"/>
              </a:ext>
            </a:extLst>
          </p:cNvPr>
          <p:cNvPicPr>
            <a:picLocks noChangeAspect="1" noChangeArrowheads="1"/>
          </p:cNvPicPr>
          <p:nvPr/>
        </p:nvPicPr>
        <p:blipFill rotWithShape="1">
          <a:blip r:embed="rId29" cstate="print">
            <a:biLevel thresh="75000"/>
            <a:extLst>
              <a:ext uri="{28A0092B-C50C-407E-A947-70E740481C1C}">
                <a14:useLocalDpi xmlns:a14="http://schemas.microsoft.com/office/drawing/2010/main" val="0"/>
              </a:ext>
            </a:extLst>
          </a:blip>
          <a:srcRect/>
          <a:stretch/>
        </p:blipFill>
        <p:spPr bwMode="auto">
          <a:xfrm>
            <a:off x="1316915" y="3692410"/>
            <a:ext cx="734677" cy="20817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8" descr="Resultado de imagen de grupo aval logo">
            <a:extLst>
              <a:ext uri="{FF2B5EF4-FFF2-40B4-BE49-F238E27FC236}">
                <a16:creationId xmlns:a16="http://schemas.microsoft.com/office/drawing/2014/main" id="{76142489-5E8C-4222-A17D-346C21A39182}"/>
              </a:ext>
            </a:extLst>
          </p:cNvPr>
          <p:cNvPicPr>
            <a:picLocks noChangeAspect="1" noChangeArrowheads="1"/>
          </p:cNvPicPr>
          <p:nvPr/>
        </p:nvPicPr>
        <p:blipFill>
          <a:blip r:embed="rId30" cstate="print">
            <a:biLevel thresh="75000"/>
            <a:extLst>
              <a:ext uri="{28A0092B-C50C-407E-A947-70E740481C1C}">
                <a14:useLocalDpi xmlns:a14="http://schemas.microsoft.com/office/drawing/2010/main" val="0"/>
              </a:ext>
            </a:extLst>
          </a:blip>
          <a:srcRect/>
          <a:stretch>
            <a:fillRect/>
          </a:stretch>
        </p:blipFill>
        <p:spPr bwMode="auto">
          <a:xfrm>
            <a:off x="2085606" y="4120651"/>
            <a:ext cx="477225" cy="13384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70" descr="Resultado de imagen para sena logo">
            <a:extLst>
              <a:ext uri="{FF2B5EF4-FFF2-40B4-BE49-F238E27FC236}">
                <a16:creationId xmlns:a16="http://schemas.microsoft.com/office/drawing/2014/main" id="{33F4F710-7535-4984-B97B-3AD646A95835}"/>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191131" y="3728008"/>
            <a:ext cx="321992" cy="315522"/>
          </a:xfrm>
          <a:prstGeom prst="rect">
            <a:avLst/>
          </a:prstGeom>
          <a:noFill/>
          <a:extLst>
            <a:ext uri="{909E8E84-426E-40DD-AFC4-6F175D3DCCD1}">
              <a14:hiddenFill xmlns:a14="http://schemas.microsoft.com/office/drawing/2010/main">
                <a:solidFill>
                  <a:srgbClr val="FFFFFF"/>
                </a:solidFill>
              </a14:hiddenFill>
            </a:ext>
          </a:extLst>
        </p:spPr>
      </p:pic>
      <p:sp>
        <p:nvSpPr>
          <p:cNvPr id="51" name="Rectángulo 113">
            <a:extLst>
              <a:ext uri="{FF2B5EF4-FFF2-40B4-BE49-F238E27FC236}">
                <a16:creationId xmlns:a16="http://schemas.microsoft.com/office/drawing/2014/main" id="{2D77D88B-6A4C-427C-B822-D9E9902C1BE2}"/>
              </a:ext>
            </a:extLst>
          </p:cNvPr>
          <p:cNvSpPr/>
          <p:nvPr/>
        </p:nvSpPr>
        <p:spPr>
          <a:xfrm>
            <a:off x="7134911" y="1430561"/>
            <a:ext cx="4549089" cy="4980012"/>
          </a:xfrm>
          <a:prstGeom prst="rect">
            <a:avLst/>
          </a:prstGeom>
          <a:solidFill>
            <a:srgbClr val="59A189">
              <a:lumMod val="20000"/>
              <a:lumOff val="80000"/>
            </a:srgbClr>
          </a:solidFill>
          <a:ln w="3175" cap="flat" cmpd="sng" algn="ctr">
            <a:solidFill>
              <a:srgbClr val="59A189">
                <a:lumMod val="20000"/>
                <a:lumOff val="80000"/>
              </a:srgbClr>
            </a:solidFill>
            <a:prstDash val="solid"/>
            <a:miter lim="800000"/>
          </a:ln>
          <a:effectLst/>
        </p:spPr>
        <p:txBody>
          <a:bodyPr lIns="252000" tIns="360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s-ES" sz="1300" b="1" i="0" u="none" strike="noStrike" kern="0" cap="none" spc="600" normalizeH="0" baseline="0" noProof="0" dirty="0">
                <a:ln>
                  <a:noFill/>
                </a:ln>
                <a:solidFill>
                  <a:srgbClr val="000000"/>
                </a:solidFill>
                <a:effectLst/>
                <a:uLnTx/>
                <a:uFillTx/>
              </a:rPr>
              <a:t>プロジェクトタイプ</a:t>
            </a:r>
            <a:endParaRPr kumimoji="0" lang="es-ES" altLang="ja-JP" sz="1300" b="1" i="0" u="none" strike="noStrike" kern="0" cap="none" spc="60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300" b="1" i="0" u="none" strike="noStrike" kern="0" cap="none" spc="60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300" b="1" u="none" strike="noStrike" kern="0" cap="none" spc="600" normalizeH="0" baseline="0" noProof="0" dirty="0">
              <a:ln>
                <a:noFill/>
              </a:ln>
              <a:solidFill>
                <a:srgbClr val="000000"/>
              </a:solidFill>
              <a:effectLst/>
              <a:uLnTx/>
              <a:uFillTx/>
            </a:endParaRPr>
          </a:p>
          <a:p>
            <a:pPr marL="342900" lvl="0" indent="-342900">
              <a:lnSpc>
                <a:spcPct val="150000"/>
              </a:lnSpc>
              <a:spcAft>
                <a:spcPts val="900"/>
              </a:spcAft>
              <a:buFont typeface="+mj-lt"/>
              <a:buAutoNum type="arabicPeriod"/>
              <a:tabLst>
                <a:tab pos="179388" algn="l"/>
              </a:tabLst>
            </a:pPr>
            <a:r>
              <a:rPr lang="ja-JP" altLang="es-ES" sz="1300" b="1" kern="0" spc="300" dirty="0">
                <a:solidFill>
                  <a:srgbClr val="000000"/>
                </a:solidFill>
              </a:rPr>
              <a:t>自動化</a:t>
            </a:r>
            <a:r>
              <a:rPr lang="ja-JP" altLang="es-ES" sz="1300" b="1" kern="0" spc="300" dirty="0">
                <a:solidFill>
                  <a:srgbClr val="0070C0"/>
                </a:solidFill>
              </a:rPr>
              <a:t>候補プロセスアセスメント</a:t>
            </a:r>
            <a:endParaRPr lang="pt-BR" sz="1300" b="1" kern="0" spc="300" dirty="0">
              <a:solidFill>
                <a:srgbClr val="0070C0"/>
              </a:solidFill>
            </a:endParaRPr>
          </a:p>
          <a:p>
            <a:pPr marL="342900" lvl="0" indent="-342900">
              <a:lnSpc>
                <a:spcPct val="150000"/>
              </a:lnSpc>
              <a:spcAft>
                <a:spcPts val="900"/>
              </a:spcAft>
              <a:buFont typeface="+mj-lt"/>
              <a:buAutoNum type="arabicPeriod"/>
              <a:tabLst>
                <a:tab pos="179388" algn="l"/>
              </a:tabLst>
            </a:pPr>
            <a:r>
              <a:rPr lang="ja-JP" altLang="es-ES" sz="1300" b="1" kern="0" spc="300" dirty="0">
                <a:solidFill>
                  <a:srgbClr val="000000"/>
                </a:solidFill>
              </a:rPr>
              <a:t>自動化対象の</a:t>
            </a:r>
            <a:r>
              <a:rPr lang="ja-JP" altLang="es-ES" sz="1300" b="1" kern="0" spc="300" dirty="0">
                <a:solidFill>
                  <a:srgbClr val="0070C0"/>
                </a:solidFill>
              </a:rPr>
              <a:t>標準プロセスの定義支援</a:t>
            </a:r>
            <a:endParaRPr lang="pt-BR" sz="1300" b="1" kern="0" spc="300" dirty="0">
              <a:solidFill>
                <a:srgbClr val="0070C0"/>
              </a:solidFill>
            </a:endParaRPr>
          </a:p>
          <a:p>
            <a:pPr marL="342900" lvl="0" indent="-342900">
              <a:lnSpc>
                <a:spcPct val="150000"/>
              </a:lnSpc>
              <a:spcAft>
                <a:spcPts val="900"/>
              </a:spcAft>
              <a:buFont typeface="+mj-lt"/>
              <a:buAutoNum type="arabicPeriod"/>
              <a:tabLst>
                <a:tab pos="179388" algn="l"/>
              </a:tabLst>
            </a:pPr>
            <a:r>
              <a:rPr lang="pt-BR" sz="1300" b="1" kern="0" spc="300" dirty="0">
                <a:solidFill>
                  <a:srgbClr val="000000"/>
                </a:solidFill>
              </a:rPr>
              <a:t>RPA</a:t>
            </a:r>
            <a:r>
              <a:rPr lang="ja-JP" altLang="es-ES" sz="1300" b="1" kern="0" spc="300" dirty="0">
                <a:solidFill>
                  <a:srgbClr val="0070C0"/>
                </a:solidFill>
              </a:rPr>
              <a:t>ロボット構築</a:t>
            </a:r>
            <a:endParaRPr lang="es-ES" altLang="ja-JP" sz="1300" b="1" kern="0" spc="300" dirty="0">
              <a:solidFill>
                <a:srgbClr val="0070C0"/>
              </a:solidFill>
            </a:endParaRPr>
          </a:p>
          <a:p>
            <a:pPr marL="342900" lvl="0" indent="-342900">
              <a:lnSpc>
                <a:spcPct val="150000"/>
              </a:lnSpc>
              <a:spcAft>
                <a:spcPts val="900"/>
              </a:spcAft>
              <a:buFont typeface="+mj-lt"/>
              <a:buAutoNum type="arabicPeriod"/>
              <a:tabLst>
                <a:tab pos="179388" algn="l"/>
              </a:tabLst>
            </a:pPr>
            <a:r>
              <a:rPr lang="es-ES" altLang="ja-JP" sz="1300" b="1" kern="0" spc="300" dirty="0">
                <a:solidFill>
                  <a:srgbClr val="000000"/>
                </a:solidFill>
              </a:rPr>
              <a:t>RPA</a:t>
            </a:r>
            <a:r>
              <a:rPr lang="ja-JP" altLang="es-ES" sz="1300" b="1" kern="0" spc="300" dirty="0">
                <a:solidFill>
                  <a:srgbClr val="000000"/>
                </a:solidFill>
              </a:rPr>
              <a:t>ロボット導入後の</a:t>
            </a:r>
            <a:r>
              <a:rPr lang="ja-JP" altLang="es-ES" sz="1300" b="1" kern="0" spc="300" dirty="0">
                <a:solidFill>
                  <a:srgbClr val="0070C0"/>
                </a:solidFill>
              </a:rPr>
              <a:t>維持運用支援</a:t>
            </a:r>
            <a:endParaRPr lang="es-ES" altLang="ja-JP" sz="1300" b="1" kern="0" spc="300" dirty="0">
              <a:solidFill>
                <a:srgbClr val="0070C0"/>
              </a:solidFill>
            </a:endParaRPr>
          </a:p>
          <a:p>
            <a:pPr marL="342900" lvl="0" indent="-342900">
              <a:lnSpc>
                <a:spcPct val="150000"/>
              </a:lnSpc>
              <a:spcAft>
                <a:spcPts val="900"/>
              </a:spcAft>
              <a:buFont typeface="+mj-lt"/>
              <a:buAutoNum type="arabicPeriod"/>
              <a:tabLst>
                <a:tab pos="179388" algn="l"/>
              </a:tabLst>
            </a:pPr>
            <a:r>
              <a:rPr lang="ja-JP" altLang="es-ES" sz="1300" b="1" kern="0" spc="300" dirty="0">
                <a:solidFill>
                  <a:srgbClr val="000000"/>
                </a:solidFill>
              </a:rPr>
              <a:t>既存ロボットの品質チェック</a:t>
            </a:r>
            <a:endParaRPr lang="es-ES" altLang="ja-JP" sz="1300" b="1" kern="0" spc="300" dirty="0">
              <a:solidFill>
                <a:srgbClr val="000000"/>
              </a:solidFill>
            </a:endParaRPr>
          </a:p>
          <a:p>
            <a:pPr marL="342900" lvl="0" indent="-342900">
              <a:lnSpc>
                <a:spcPct val="150000"/>
              </a:lnSpc>
              <a:spcAft>
                <a:spcPts val="900"/>
              </a:spcAft>
              <a:buFont typeface="+mj-lt"/>
              <a:buAutoNum type="arabicPeriod"/>
              <a:tabLst>
                <a:tab pos="179388" algn="l"/>
              </a:tabLst>
            </a:pPr>
            <a:r>
              <a:rPr lang="pt-BR" sz="1300" b="1" kern="0" spc="300" dirty="0" err="1">
                <a:solidFill>
                  <a:srgbClr val="000000"/>
                </a:solidFill>
              </a:rPr>
              <a:t>Hackathon</a:t>
            </a:r>
            <a:r>
              <a:rPr lang="pt-BR" sz="1300" b="1" kern="0" spc="300" dirty="0">
                <a:solidFill>
                  <a:srgbClr val="000000"/>
                </a:solidFill>
              </a:rPr>
              <a:t> (</a:t>
            </a:r>
            <a:r>
              <a:rPr lang="ja-JP" altLang="es-ES" sz="1300" b="1" kern="0" spc="300" dirty="0">
                <a:solidFill>
                  <a:srgbClr val="000000"/>
                </a:solidFill>
              </a:rPr>
              <a:t>ハッカソン</a:t>
            </a:r>
            <a:r>
              <a:rPr lang="es-ES" altLang="ja-JP" sz="1300" b="1" kern="0" spc="300" dirty="0">
                <a:solidFill>
                  <a:srgbClr val="000000"/>
                </a:solidFill>
              </a:rPr>
              <a:t>)</a:t>
            </a:r>
            <a:r>
              <a:rPr lang="ja-JP" altLang="es-ES" sz="1300" b="1" kern="0" spc="300" dirty="0">
                <a:solidFill>
                  <a:srgbClr val="000000"/>
                </a:solidFill>
              </a:rPr>
              <a:t>開催</a:t>
            </a:r>
            <a:endParaRPr lang="es-ES" altLang="ja-JP" sz="1300" b="1" kern="0" spc="300" dirty="0">
              <a:solidFill>
                <a:srgbClr val="000000"/>
              </a:solidFill>
            </a:endParaRPr>
          </a:p>
          <a:p>
            <a:pPr marL="342900" lvl="0" indent="-342900">
              <a:lnSpc>
                <a:spcPct val="150000"/>
              </a:lnSpc>
              <a:spcAft>
                <a:spcPts val="900"/>
              </a:spcAft>
              <a:buFont typeface="+mj-lt"/>
              <a:buAutoNum type="arabicPeriod"/>
              <a:tabLst>
                <a:tab pos="179388" algn="l"/>
              </a:tabLst>
            </a:pPr>
            <a:r>
              <a:rPr lang="es-ES" altLang="ja-JP" sz="1300" b="1" kern="0" spc="300" dirty="0">
                <a:solidFill>
                  <a:srgbClr val="000000"/>
                </a:solidFill>
              </a:rPr>
              <a:t>RPA</a:t>
            </a:r>
            <a:r>
              <a:rPr lang="ja-JP" altLang="es-ES" sz="1300" b="1" kern="0" spc="300" dirty="0">
                <a:solidFill>
                  <a:srgbClr val="000000"/>
                </a:solidFill>
              </a:rPr>
              <a:t>ロボット構築者向けのトレーニング</a:t>
            </a:r>
            <a:endParaRPr lang="es-ES" altLang="ja-JP" sz="1300" b="1" kern="0" spc="300" dirty="0">
              <a:solidFill>
                <a:srgbClr val="000000"/>
              </a:solidFill>
            </a:endParaRPr>
          </a:p>
          <a:p>
            <a:pPr marL="342900" lvl="0" indent="-342900">
              <a:lnSpc>
                <a:spcPct val="150000"/>
              </a:lnSpc>
              <a:spcAft>
                <a:spcPts val="900"/>
              </a:spcAft>
              <a:buFont typeface="+mj-lt"/>
              <a:buAutoNum type="arabicPeriod"/>
              <a:tabLst>
                <a:tab pos="179388" algn="l"/>
              </a:tabLst>
            </a:pPr>
            <a:r>
              <a:rPr lang="es-ES" altLang="ja-JP" sz="1300" b="1" kern="0" spc="300" dirty="0">
                <a:solidFill>
                  <a:srgbClr val="000000"/>
                </a:solidFill>
              </a:rPr>
              <a:t>RPA</a:t>
            </a:r>
            <a:r>
              <a:rPr lang="ja-JP" altLang="es-ES" sz="1300" b="1" kern="0" spc="300" dirty="0">
                <a:solidFill>
                  <a:srgbClr val="000000"/>
                </a:solidFill>
              </a:rPr>
              <a:t>維持運用者向けのトレーニング</a:t>
            </a:r>
            <a:endParaRPr lang="es-ES" altLang="ja-JP" sz="1300" b="1" kern="0" spc="300" dirty="0">
              <a:solidFill>
                <a:srgbClr val="000000"/>
              </a:solidFill>
            </a:endParaRPr>
          </a:p>
          <a:p>
            <a:pPr lvl="0">
              <a:spcAft>
                <a:spcPts val="900"/>
              </a:spcAft>
              <a:tabLst>
                <a:tab pos="179388" algn="l"/>
              </a:tabLst>
            </a:pPr>
            <a:endParaRPr lang="pt-BR" sz="1300" b="1" i="1" kern="0" spc="300" dirty="0">
              <a:solidFill>
                <a:srgbClr val="000000"/>
              </a:solidFill>
            </a:endParaRPr>
          </a:p>
        </p:txBody>
      </p:sp>
      <p:pic>
        <p:nvPicPr>
          <p:cNvPr id="52" name="Picture 2" descr="Resultado de imagen para braskem idesa logo">
            <a:extLst>
              <a:ext uri="{FF2B5EF4-FFF2-40B4-BE49-F238E27FC236}">
                <a16:creationId xmlns:a16="http://schemas.microsoft.com/office/drawing/2014/main" id="{7FD334B7-06E4-4BC3-82A6-1652D05FE796}"/>
              </a:ext>
            </a:extLst>
          </p:cNvPr>
          <p:cNvPicPr>
            <a:picLocks noChangeAspect="1" noChangeArrowheads="1"/>
          </p:cNvPicPr>
          <p:nvPr/>
        </p:nvPicPr>
        <p:blipFill>
          <a:blip r:embed="rId32" cstate="print">
            <a:biLevel thresh="75000"/>
            <a:extLst>
              <a:ext uri="{28A0092B-C50C-407E-A947-70E740481C1C}">
                <a14:useLocalDpi xmlns:a14="http://schemas.microsoft.com/office/drawing/2010/main" val="0"/>
              </a:ext>
            </a:extLst>
          </a:blip>
          <a:srcRect/>
          <a:stretch>
            <a:fillRect/>
          </a:stretch>
        </p:blipFill>
        <p:spPr bwMode="auto">
          <a:xfrm>
            <a:off x="558510" y="2878382"/>
            <a:ext cx="689318" cy="14050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Somos Naturgy - Naturgy">
            <a:extLst>
              <a:ext uri="{FF2B5EF4-FFF2-40B4-BE49-F238E27FC236}">
                <a16:creationId xmlns:a16="http://schemas.microsoft.com/office/drawing/2014/main" id="{1A5D279E-0416-4211-B817-4AB6F74D74BC}"/>
              </a:ext>
            </a:extLst>
          </p:cNvPr>
          <p:cNvPicPr>
            <a:picLocks noChangeAspect="1" noChangeArrowheads="1"/>
          </p:cNvPicPr>
          <p:nvPr/>
        </p:nvPicPr>
        <p:blipFill>
          <a:blip r:embed="rId33" cstate="print">
            <a:biLevel thresh="7500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9279" y="3200494"/>
            <a:ext cx="727540" cy="24097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descr="Archivo:Logo Banco Ciudad.svg - Wikipedia, la enciclopedia libre">
            <a:extLst>
              <a:ext uri="{FF2B5EF4-FFF2-40B4-BE49-F238E27FC236}">
                <a16:creationId xmlns:a16="http://schemas.microsoft.com/office/drawing/2014/main" id="{882BAF0F-0DE1-4E79-815D-D3DF5227C705}"/>
              </a:ext>
            </a:extLst>
          </p:cNvPr>
          <p:cNvPicPr>
            <a:picLocks noChangeAspect="1" noChangeArrowheads="1"/>
          </p:cNvPicPr>
          <p:nvPr/>
        </p:nvPicPr>
        <p:blipFill>
          <a:blip r:embed="rId34" cstate="print">
            <a:biLevel thresh="75000"/>
            <a:extLst>
              <a:ext uri="{28A0092B-C50C-407E-A947-70E740481C1C}">
                <a14:useLocalDpi xmlns:a14="http://schemas.microsoft.com/office/drawing/2010/main" val="0"/>
              </a:ext>
            </a:extLst>
          </a:blip>
          <a:srcRect/>
          <a:stretch>
            <a:fillRect/>
          </a:stretch>
        </p:blipFill>
        <p:spPr bwMode="auto">
          <a:xfrm>
            <a:off x="5045927" y="6154442"/>
            <a:ext cx="768577" cy="17112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Somos Naturgy - Naturgy">
            <a:extLst>
              <a:ext uri="{FF2B5EF4-FFF2-40B4-BE49-F238E27FC236}">
                <a16:creationId xmlns:a16="http://schemas.microsoft.com/office/drawing/2014/main" id="{7512286F-151D-45B6-85A6-D4A43E7BA04D}"/>
              </a:ext>
            </a:extLst>
          </p:cNvPr>
          <p:cNvPicPr>
            <a:picLocks noChangeAspect="1" noChangeArrowheads="1"/>
          </p:cNvPicPr>
          <p:nvPr/>
        </p:nvPicPr>
        <p:blipFill>
          <a:blip r:embed="rId35" cstate="print">
            <a:biLevel thresh="7500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91164" y="5973270"/>
            <a:ext cx="601273" cy="19915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Actinver | Especialistas en Inversión">
            <a:extLst>
              <a:ext uri="{FF2B5EF4-FFF2-40B4-BE49-F238E27FC236}">
                <a16:creationId xmlns:a16="http://schemas.microsoft.com/office/drawing/2014/main" id="{A609A57F-FB00-4F05-A9B8-F97568054F95}"/>
              </a:ext>
            </a:extLst>
          </p:cNvPr>
          <p:cNvPicPr>
            <a:picLocks noChangeAspect="1" noChangeArrowheads="1"/>
          </p:cNvPicPr>
          <p:nvPr/>
        </p:nvPicPr>
        <p:blipFill>
          <a:blip r:embed="rId36" cstate="print">
            <a:biLevel thresh="75000"/>
            <a:extLst>
              <a:ext uri="{28A0092B-C50C-407E-A947-70E740481C1C}">
                <a14:useLocalDpi xmlns:a14="http://schemas.microsoft.com/office/drawing/2010/main" val="0"/>
              </a:ext>
            </a:extLst>
          </a:blip>
          <a:srcRect/>
          <a:stretch>
            <a:fillRect/>
          </a:stretch>
        </p:blipFill>
        <p:spPr bwMode="auto">
          <a:xfrm>
            <a:off x="1498209" y="2463505"/>
            <a:ext cx="762355" cy="30322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0" descr="Transbank S.A. (Transbank) - BNamericas">
            <a:extLst>
              <a:ext uri="{FF2B5EF4-FFF2-40B4-BE49-F238E27FC236}">
                <a16:creationId xmlns:a16="http://schemas.microsoft.com/office/drawing/2014/main" id="{38DC5692-9932-471F-BBFF-E102320728B0}"/>
              </a:ext>
            </a:extLst>
          </p:cNvPr>
          <p:cNvPicPr>
            <a:picLocks noChangeAspect="1" noChangeArrowheads="1"/>
          </p:cNvPicPr>
          <p:nvPr/>
        </p:nvPicPr>
        <p:blipFill rotWithShape="1">
          <a:blip r:embed="rId37" cstate="print">
            <a:biLevel thresh="75000"/>
            <a:extLst>
              <a:ext uri="{28A0092B-C50C-407E-A947-70E740481C1C}">
                <a14:useLocalDpi xmlns:a14="http://schemas.microsoft.com/office/drawing/2010/main" val="0"/>
              </a:ext>
            </a:extLst>
          </a:blip>
          <a:srcRect l="4794" t="32268" r="5620" b="33745"/>
          <a:stretch/>
        </p:blipFill>
        <p:spPr bwMode="auto">
          <a:xfrm>
            <a:off x="2774952" y="6002875"/>
            <a:ext cx="551543" cy="139495"/>
          </a:xfrm>
          <a:prstGeom prst="rect">
            <a:avLst/>
          </a:prstGeom>
          <a:noFill/>
          <a:extLst>
            <a:ext uri="{909E8E84-426E-40DD-AFC4-6F175D3DCCD1}">
              <a14:hiddenFill xmlns:a14="http://schemas.microsoft.com/office/drawing/2010/main">
                <a:solidFill>
                  <a:srgbClr val="FFFFFF"/>
                </a:solidFill>
              </a14:hiddenFill>
            </a:ext>
          </a:extLst>
        </p:spPr>
      </p:pic>
      <p:pic>
        <p:nvPicPr>
          <p:cNvPr id="58" name="Imagen 86">
            <a:extLst>
              <a:ext uri="{FF2B5EF4-FFF2-40B4-BE49-F238E27FC236}">
                <a16:creationId xmlns:a16="http://schemas.microsoft.com/office/drawing/2014/main" id="{ECF98ACA-30CC-41BE-A9BC-B121FD51BD3D}"/>
              </a:ext>
            </a:extLst>
          </p:cNvPr>
          <p:cNvPicPr>
            <a:picLocks noChangeAspect="1"/>
          </p:cNvPicPr>
          <p:nvPr/>
        </p:nvPicPr>
        <p:blipFill>
          <a:blip r:embed="rId38">
            <a:biLevel thresh="75000"/>
          </a:blip>
          <a:stretch>
            <a:fillRect/>
          </a:stretch>
        </p:blipFill>
        <p:spPr>
          <a:xfrm>
            <a:off x="2038272" y="4601126"/>
            <a:ext cx="513946" cy="197013"/>
          </a:xfrm>
          <a:prstGeom prst="rect">
            <a:avLst/>
          </a:prstGeom>
          <a:noFill/>
        </p:spPr>
      </p:pic>
      <p:pic>
        <p:nvPicPr>
          <p:cNvPr id="59" name="Imagen 90">
            <a:extLst>
              <a:ext uri="{FF2B5EF4-FFF2-40B4-BE49-F238E27FC236}">
                <a16:creationId xmlns:a16="http://schemas.microsoft.com/office/drawing/2014/main" id="{01B30685-9B66-44AA-B139-D804C03A300A}"/>
              </a:ext>
            </a:extLst>
          </p:cNvPr>
          <p:cNvPicPr>
            <a:picLocks noChangeAspect="1"/>
          </p:cNvPicPr>
          <p:nvPr/>
        </p:nvPicPr>
        <p:blipFill rotWithShape="1">
          <a:blip r:embed="rId39">
            <a:biLevel thresh="75000"/>
            <a:clrChange>
              <a:clrFrom>
                <a:srgbClr val="FFFFFF"/>
              </a:clrFrom>
              <a:clrTo>
                <a:srgbClr val="FFFFFF">
                  <a:alpha val="0"/>
                </a:srgbClr>
              </a:clrTo>
            </a:clrChange>
          </a:blip>
          <a:srcRect t="34201" b="34201"/>
          <a:stretch/>
        </p:blipFill>
        <p:spPr>
          <a:xfrm>
            <a:off x="2542787" y="4883317"/>
            <a:ext cx="606991" cy="191796"/>
          </a:xfrm>
          <a:prstGeom prst="rect">
            <a:avLst/>
          </a:prstGeom>
          <a:noFill/>
        </p:spPr>
      </p:pic>
      <p:pic>
        <p:nvPicPr>
          <p:cNvPr id="60" name="Imagen 94">
            <a:extLst>
              <a:ext uri="{FF2B5EF4-FFF2-40B4-BE49-F238E27FC236}">
                <a16:creationId xmlns:a16="http://schemas.microsoft.com/office/drawing/2014/main" id="{986AF380-7E51-4504-8D83-01BE6655EBBC}"/>
              </a:ext>
            </a:extLst>
          </p:cNvPr>
          <p:cNvPicPr>
            <a:picLocks noChangeAspect="1"/>
          </p:cNvPicPr>
          <p:nvPr/>
        </p:nvPicPr>
        <p:blipFill>
          <a:blip r:embed="rId40">
            <a:biLevel thresh="75000"/>
            <a:clrChange>
              <a:clrFrom>
                <a:srgbClr val="FFFFFF"/>
              </a:clrFrom>
              <a:clrTo>
                <a:srgbClr val="FFFFFF">
                  <a:alpha val="0"/>
                </a:srgbClr>
              </a:clrTo>
            </a:clrChange>
          </a:blip>
          <a:stretch>
            <a:fillRect/>
          </a:stretch>
        </p:blipFill>
        <p:spPr>
          <a:xfrm>
            <a:off x="6361252" y="5453280"/>
            <a:ext cx="513946" cy="287810"/>
          </a:xfrm>
          <a:prstGeom prst="rect">
            <a:avLst/>
          </a:prstGeom>
          <a:noFill/>
        </p:spPr>
      </p:pic>
      <p:pic>
        <p:nvPicPr>
          <p:cNvPr id="61" name="Imagen 95">
            <a:extLst>
              <a:ext uri="{FF2B5EF4-FFF2-40B4-BE49-F238E27FC236}">
                <a16:creationId xmlns:a16="http://schemas.microsoft.com/office/drawing/2014/main" id="{45094C39-ED41-4505-8E99-29523E5F967B}"/>
              </a:ext>
            </a:extLst>
          </p:cNvPr>
          <p:cNvPicPr>
            <a:picLocks noChangeAspect="1"/>
          </p:cNvPicPr>
          <p:nvPr/>
        </p:nvPicPr>
        <p:blipFill>
          <a:blip r:embed="rId41">
            <a:biLevel thresh="75000"/>
            <a:clrChange>
              <a:clrFrom>
                <a:srgbClr val="FFFFFF"/>
              </a:clrFrom>
              <a:clrTo>
                <a:srgbClr val="FFFFFF">
                  <a:alpha val="0"/>
                </a:srgbClr>
              </a:clrTo>
            </a:clrChange>
          </a:blip>
          <a:stretch>
            <a:fillRect/>
          </a:stretch>
        </p:blipFill>
        <p:spPr>
          <a:xfrm>
            <a:off x="5408395" y="5744940"/>
            <a:ext cx="350417" cy="350417"/>
          </a:xfrm>
          <a:prstGeom prst="rect">
            <a:avLst/>
          </a:prstGeom>
          <a:noFill/>
        </p:spPr>
      </p:pic>
      <p:pic>
        <p:nvPicPr>
          <p:cNvPr id="62" name="Imagen 96">
            <a:extLst>
              <a:ext uri="{FF2B5EF4-FFF2-40B4-BE49-F238E27FC236}">
                <a16:creationId xmlns:a16="http://schemas.microsoft.com/office/drawing/2014/main" id="{63FBCB79-1906-4487-9D3F-BDD0CA2869AF}"/>
              </a:ext>
            </a:extLst>
          </p:cNvPr>
          <p:cNvPicPr>
            <a:picLocks noChangeAspect="1"/>
          </p:cNvPicPr>
          <p:nvPr/>
        </p:nvPicPr>
        <p:blipFill rotWithShape="1">
          <a:blip r:embed="rId42">
            <a:extLst>
              <a:ext uri="{BEBA8EAE-BF5A-486C-A8C5-ECC9F3942E4B}">
                <a14:imgProps xmlns:a14="http://schemas.microsoft.com/office/drawing/2010/main">
                  <a14:imgLayer r:embed="rId43">
                    <a14:imgEffect>
                      <a14:saturation sat="0"/>
                    </a14:imgEffect>
                  </a14:imgLayer>
                </a14:imgProps>
              </a:ext>
            </a:extLst>
          </a:blip>
          <a:srcRect t="17028" b="17028"/>
          <a:stretch/>
        </p:blipFill>
        <p:spPr>
          <a:xfrm>
            <a:off x="1439294" y="4153589"/>
            <a:ext cx="514459" cy="229902"/>
          </a:xfrm>
          <a:prstGeom prst="rect">
            <a:avLst/>
          </a:prstGeom>
        </p:spPr>
      </p:pic>
      <p:pic>
        <p:nvPicPr>
          <p:cNvPr id="63" name="Picture 14" descr="Image result for Enel">
            <a:extLst>
              <a:ext uri="{FF2B5EF4-FFF2-40B4-BE49-F238E27FC236}">
                <a16:creationId xmlns:a16="http://schemas.microsoft.com/office/drawing/2014/main" id="{4FDF24F2-6F20-447E-B4D4-6DE064D8DB63}"/>
              </a:ext>
            </a:extLst>
          </p:cNvPr>
          <p:cNvPicPr>
            <a:picLocks noChangeAspect="1" noChangeArrowheads="1"/>
          </p:cNvPicPr>
          <p:nvPr/>
        </p:nvPicPr>
        <p:blipFill>
          <a:blip r:embed="rId44" cstate="print">
            <a:biLevel thresh="75000"/>
            <a:extLst>
              <a:ext uri="{BEBA8EAE-BF5A-486C-A8C5-ECC9F3942E4B}">
                <a14:imgProps xmlns:a14="http://schemas.microsoft.com/office/drawing/2010/main">
                  <a14:imgLayer r:embed="rId4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893400" y="4264235"/>
            <a:ext cx="576000" cy="215040"/>
          </a:xfrm>
          <a:prstGeom prst="rect">
            <a:avLst/>
          </a:prstGeom>
          <a:noFill/>
          <a:extLst>
            <a:ext uri="{909E8E84-426E-40DD-AFC4-6F175D3DCCD1}">
              <a14:hiddenFill xmlns:a14="http://schemas.microsoft.com/office/drawing/2010/main">
                <a:solidFill>
                  <a:srgbClr val="FFFFFF"/>
                </a:solidFill>
              </a14:hiddenFill>
            </a:ext>
          </a:extLst>
        </p:spPr>
      </p:pic>
      <p:pic>
        <p:nvPicPr>
          <p:cNvPr id="64" name="Imagem 95">
            <a:extLst>
              <a:ext uri="{FF2B5EF4-FFF2-40B4-BE49-F238E27FC236}">
                <a16:creationId xmlns:a16="http://schemas.microsoft.com/office/drawing/2014/main" id="{1716F562-3CB1-4582-9650-E80B8E5083E8}"/>
              </a:ext>
            </a:extLst>
          </p:cNvPr>
          <p:cNvPicPr>
            <a:picLocks noChangeAspect="1"/>
          </p:cNvPicPr>
          <p:nvPr/>
        </p:nvPicPr>
        <p:blipFill>
          <a:blip r:embed="rId46">
            <a:grayscl/>
          </a:blip>
          <a:stretch>
            <a:fillRect/>
          </a:stretch>
        </p:blipFill>
        <p:spPr>
          <a:xfrm>
            <a:off x="5448308" y="3501083"/>
            <a:ext cx="315250" cy="315250"/>
          </a:xfrm>
          <a:prstGeom prst="rect">
            <a:avLst/>
          </a:prstGeom>
        </p:spPr>
      </p:pic>
      <p:pic>
        <p:nvPicPr>
          <p:cNvPr id="65" name="Imagem 97">
            <a:extLst>
              <a:ext uri="{FF2B5EF4-FFF2-40B4-BE49-F238E27FC236}">
                <a16:creationId xmlns:a16="http://schemas.microsoft.com/office/drawing/2014/main" id="{36C8A6DD-CCE9-4BBC-874A-807929990042}"/>
              </a:ext>
            </a:extLst>
          </p:cNvPr>
          <p:cNvPicPr>
            <a:picLocks noChangeAspect="1"/>
          </p:cNvPicPr>
          <p:nvPr/>
        </p:nvPicPr>
        <p:blipFill>
          <a:blip r:embed="rId47">
            <a:clrChange>
              <a:clrFrom>
                <a:srgbClr val="FFFFFF"/>
              </a:clrFrom>
              <a:clrTo>
                <a:srgbClr val="FFFFFF">
                  <a:alpha val="0"/>
                </a:srgbClr>
              </a:clrTo>
            </a:clrChange>
            <a:grayscl/>
          </a:blip>
          <a:stretch>
            <a:fillRect/>
          </a:stretch>
        </p:blipFill>
        <p:spPr>
          <a:xfrm>
            <a:off x="5788498" y="3107638"/>
            <a:ext cx="1152002" cy="373829"/>
          </a:xfrm>
          <a:prstGeom prst="rect">
            <a:avLst/>
          </a:prstGeom>
        </p:spPr>
      </p:pic>
      <p:pic>
        <p:nvPicPr>
          <p:cNvPr id="66" name="Imagem 2">
            <a:extLst>
              <a:ext uri="{FF2B5EF4-FFF2-40B4-BE49-F238E27FC236}">
                <a16:creationId xmlns:a16="http://schemas.microsoft.com/office/drawing/2014/main" id="{32D1C1C5-0934-40CE-9D76-212E72E1DC3A}"/>
              </a:ext>
            </a:extLst>
          </p:cNvPr>
          <p:cNvPicPr>
            <a:picLocks noChangeAspect="1"/>
          </p:cNvPicPr>
          <p:nvPr/>
        </p:nvPicPr>
        <p:blipFill rotWithShape="1">
          <a:blip r:embed="rId48">
            <a:clrChange>
              <a:clrFrom>
                <a:srgbClr val="FFFFFF"/>
              </a:clrFrom>
              <a:clrTo>
                <a:srgbClr val="FFFFFF">
                  <a:alpha val="0"/>
                </a:srgbClr>
              </a:clrTo>
            </a:clrChange>
            <a:grayscl/>
          </a:blip>
          <a:srcRect t="30063"/>
          <a:stretch/>
        </p:blipFill>
        <p:spPr>
          <a:xfrm>
            <a:off x="5935268" y="3548008"/>
            <a:ext cx="919191" cy="360000"/>
          </a:xfrm>
          <a:prstGeom prst="rect">
            <a:avLst/>
          </a:prstGeom>
        </p:spPr>
      </p:pic>
      <p:pic>
        <p:nvPicPr>
          <p:cNvPr id="67" name="Imagem 98">
            <a:extLst>
              <a:ext uri="{FF2B5EF4-FFF2-40B4-BE49-F238E27FC236}">
                <a16:creationId xmlns:a16="http://schemas.microsoft.com/office/drawing/2014/main" id="{77EBEFF3-BEAA-4738-ACAE-1653E0B14C05}"/>
              </a:ext>
            </a:extLst>
          </p:cNvPr>
          <p:cNvPicPr>
            <a:picLocks noChangeAspect="1"/>
          </p:cNvPicPr>
          <p:nvPr/>
        </p:nvPicPr>
        <p:blipFill>
          <a:blip r:embed="rId49">
            <a:clrChange>
              <a:clrFrom>
                <a:srgbClr val="FFFFFF"/>
              </a:clrFrom>
              <a:clrTo>
                <a:srgbClr val="FFFFFF">
                  <a:alpha val="0"/>
                </a:srgbClr>
              </a:clrTo>
            </a:clrChange>
            <a:extLst>
              <a:ext uri="{BEBA8EAE-BF5A-486C-A8C5-ECC9F3942E4B}">
                <a14:imgProps xmlns:a14="http://schemas.microsoft.com/office/drawing/2010/main">
                  <a14:imgLayer r:embed="rId50">
                    <a14:imgEffect>
                      <a14:saturation sat="0"/>
                    </a14:imgEffect>
                  </a14:imgLayer>
                </a14:imgProps>
              </a:ext>
            </a:extLst>
          </a:blip>
          <a:stretch>
            <a:fillRect/>
          </a:stretch>
        </p:blipFill>
        <p:spPr>
          <a:xfrm>
            <a:off x="6309162" y="4426782"/>
            <a:ext cx="569984" cy="441643"/>
          </a:xfrm>
          <a:prstGeom prst="rect">
            <a:avLst/>
          </a:prstGeom>
        </p:spPr>
      </p:pic>
      <p:pic>
        <p:nvPicPr>
          <p:cNvPr id="68" name="Imagem 3">
            <a:extLst>
              <a:ext uri="{FF2B5EF4-FFF2-40B4-BE49-F238E27FC236}">
                <a16:creationId xmlns:a16="http://schemas.microsoft.com/office/drawing/2014/main" id="{5088906B-8E8C-4778-B05F-B72E269D547C}"/>
              </a:ext>
            </a:extLst>
          </p:cNvPr>
          <p:cNvPicPr>
            <a:picLocks noChangeAspect="1"/>
          </p:cNvPicPr>
          <p:nvPr/>
        </p:nvPicPr>
        <p:blipFill>
          <a:blip r:embed="rId51">
            <a:extLst>
              <a:ext uri="{BEBA8EAE-BF5A-486C-A8C5-ECC9F3942E4B}">
                <a14:imgProps xmlns:a14="http://schemas.microsoft.com/office/drawing/2010/main">
                  <a14:imgLayer r:embed="rId52">
                    <a14:imgEffect>
                      <a14:saturation sat="0"/>
                    </a14:imgEffect>
                  </a14:imgLayer>
                </a14:imgProps>
              </a:ext>
            </a:extLst>
          </a:blip>
          <a:stretch>
            <a:fillRect/>
          </a:stretch>
        </p:blipFill>
        <p:spPr>
          <a:xfrm>
            <a:off x="5392179" y="4914430"/>
            <a:ext cx="741050" cy="264661"/>
          </a:xfrm>
          <a:prstGeom prst="rect">
            <a:avLst/>
          </a:prstGeom>
        </p:spPr>
      </p:pic>
      <p:pic>
        <p:nvPicPr>
          <p:cNvPr id="69" name="Picture 2">
            <a:extLst>
              <a:ext uri="{FF2B5EF4-FFF2-40B4-BE49-F238E27FC236}">
                <a16:creationId xmlns:a16="http://schemas.microsoft.com/office/drawing/2014/main" id="{D22F456D-F86D-4032-940E-1DD4E1B231E0}"/>
              </a:ext>
            </a:extLst>
          </p:cNvPr>
          <p:cNvPicPr>
            <a:picLocks noChangeAspect="1" noChangeArrowheads="1"/>
          </p:cNvPicPr>
          <p:nvPr/>
        </p:nvPicPr>
        <p:blipFill>
          <a:blip r:embed="rId53" cstate="print">
            <a:extLst>
              <a:ext uri="{BEBA8EAE-BF5A-486C-A8C5-ECC9F3942E4B}">
                <a14:imgProps xmlns:a14="http://schemas.microsoft.com/office/drawing/2010/main">
                  <a14:imgLayer r:embed="rId5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597473" y="4540042"/>
            <a:ext cx="374375" cy="292579"/>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Agrupar 5">
            <a:extLst>
              <a:ext uri="{FF2B5EF4-FFF2-40B4-BE49-F238E27FC236}">
                <a16:creationId xmlns:a16="http://schemas.microsoft.com/office/drawing/2014/main" id="{8F95CF28-1564-4827-BAD6-250323005A40}"/>
              </a:ext>
            </a:extLst>
          </p:cNvPr>
          <p:cNvGrpSpPr/>
          <p:nvPr/>
        </p:nvGrpSpPr>
        <p:grpSpPr>
          <a:xfrm>
            <a:off x="5842622" y="3815789"/>
            <a:ext cx="394731" cy="359999"/>
            <a:chOff x="5941202" y="4194894"/>
            <a:chExt cx="394731" cy="359999"/>
          </a:xfrm>
        </p:grpSpPr>
        <p:pic>
          <p:nvPicPr>
            <p:cNvPr id="71" name="Imagem 96">
              <a:extLst>
                <a:ext uri="{FF2B5EF4-FFF2-40B4-BE49-F238E27FC236}">
                  <a16:creationId xmlns:a16="http://schemas.microsoft.com/office/drawing/2014/main" id="{FAB0F043-D0DF-4B35-9D1C-3CCBDCED7BD7}"/>
                </a:ext>
              </a:extLst>
            </p:cNvPr>
            <p:cNvPicPr>
              <a:picLocks noChangeAspect="1"/>
            </p:cNvPicPr>
            <p:nvPr/>
          </p:nvPicPr>
          <p:blipFill rotWithShape="1">
            <a:blip r:embed="rId55">
              <a:grayscl/>
            </a:blip>
            <a:srcRect t="1" b="7538"/>
            <a:stretch/>
          </p:blipFill>
          <p:spPr>
            <a:xfrm>
              <a:off x="5971844" y="4194894"/>
              <a:ext cx="337500" cy="332861"/>
            </a:xfrm>
            <a:prstGeom prst="rect">
              <a:avLst/>
            </a:prstGeom>
          </p:spPr>
        </p:pic>
        <p:sp>
          <p:nvSpPr>
            <p:cNvPr id="72" name="Retângulo 4">
              <a:extLst>
                <a:ext uri="{FF2B5EF4-FFF2-40B4-BE49-F238E27FC236}">
                  <a16:creationId xmlns:a16="http://schemas.microsoft.com/office/drawing/2014/main" id="{A7D75609-84E8-445A-BE19-A3DF2DC056B3}"/>
                </a:ext>
              </a:extLst>
            </p:cNvPr>
            <p:cNvSpPr/>
            <p:nvPr/>
          </p:nvSpPr>
          <p:spPr>
            <a:xfrm>
              <a:off x="5941202" y="4509174"/>
              <a:ext cx="394731" cy="45719"/>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grpSp>
      <p:pic>
        <p:nvPicPr>
          <p:cNvPr id="73" name="Picture 5" descr="TIM Logo: valor, história, PNG">
            <a:extLst>
              <a:ext uri="{FF2B5EF4-FFF2-40B4-BE49-F238E27FC236}">
                <a16:creationId xmlns:a16="http://schemas.microsoft.com/office/drawing/2014/main" id="{E1A3F826-358B-480C-8F89-A6734348241F}"/>
              </a:ext>
            </a:extLst>
          </p:cNvPr>
          <p:cNvPicPr>
            <a:picLocks noChangeAspect="1" noChangeArrowheads="1"/>
          </p:cNvPicPr>
          <p:nvPr/>
        </p:nvPicPr>
        <p:blipFill>
          <a:blip r:embed="rId56" cstate="print">
            <a:clrChange>
              <a:clrFrom>
                <a:srgbClr val="FFFFFF"/>
              </a:clrFrom>
              <a:clrTo>
                <a:srgbClr val="FFFFFF">
                  <a:alpha val="0"/>
                </a:srgbClr>
              </a:clrTo>
            </a:clrChange>
            <a:extLst>
              <a:ext uri="{BEBA8EAE-BF5A-486C-A8C5-ECC9F3942E4B}">
                <a14:imgProps xmlns:a14="http://schemas.microsoft.com/office/drawing/2010/main">
                  <a14:imgLayer r:embed="rId5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245918" y="4891894"/>
            <a:ext cx="592716" cy="331921"/>
          </a:xfrm>
          <a:prstGeom prst="rect">
            <a:avLst/>
          </a:prstGeom>
          <a:noFill/>
          <a:extLst>
            <a:ext uri="{909E8E84-426E-40DD-AFC4-6F175D3DCCD1}">
              <a14:hiddenFill xmlns:a14="http://schemas.microsoft.com/office/drawing/2010/main">
                <a:solidFill>
                  <a:srgbClr val="FFFFFF"/>
                </a:solidFill>
              </a14:hiddenFill>
            </a:ext>
          </a:extLst>
        </p:spPr>
      </p:pic>
      <p:pic>
        <p:nvPicPr>
          <p:cNvPr id="74" name="Imagem 92" descr="Placa azul com letras brancas em fundo preto&#10;&#10;Descrição gerada automaticamente">
            <a:extLst>
              <a:ext uri="{FF2B5EF4-FFF2-40B4-BE49-F238E27FC236}">
                <a16:creationId xmlns:a16="http://schemas.microsoft.com/office/drawing/2014/main" id="{C4269D50-6CF9-0DF0-5492-1B7F20178A66}"/>
              </a:ext>
            </a:extLst>
          </p:cNvPr>
          <p:cNvPicPr>
            <a:picLocks noChangeAspect="1"/>
          </p:cNvPicPr>
          <p:nvPr/>
        </p:nvPicPr>
        <p:blipFill>
          <a:blip r:embed="rId58">
            <a:extLst>
              <a:ext uri="{BEBA8EAE-BF5A-486C-A8C5-ECC9F3942E4B}">
                <a14:imgProps xmlns:a14="http://schemas.microsoft.com/office/drawing/2010/main">
                  <a14:imgLayer r:embed="rId59">
                    <a14:imgEffect>
                      <a14:saturation sat="0"/>
                    </a14:imgEffect>
                  </a14:imgLayer>
                </a14:imgProps>
              </a:ext>
            </a:extLst>
          </a:blip>
          <a:stretch>
            <a:fillRect/>
          </a:stretch>
        </p:blipFill>
        <p:spPr>
          <a:xfrm>
            <a:off x="6286149" y="3816825"/>
            <a:ext cx="546825" cy="324000"/>
          </a:xfrm>
          <a:prstGeom prst="rect">
            <a:avLst/>
          </a:prstGeom>
        </p:spPr>
      </p:pic>
    </p:spTree>
    <p:extLst>
      <p:ext uri="{BB962C8B-B14F-4D97-AF65-F5344CB8AC3E}">
        <p14:creationId xmlns:p14="http://schemas.microsoft.com/office/powerpoint/2010/main" val="103296350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ja-JP" altLang="es-ES" dirty="0"/>
              <a:t>工数削減にとどまらない</a:t>
            </a:r>
            <a:r>
              <a:rPr lang="es-ES" altLang="ja-JP" dirty="0"/>
              <a:t>RPA</a:t>
            </a:r>
            <a:r>
              <a:rPr lang="ja-JP" altLang="es-ES" dirty="0"/>
              <a:t>導入によるメリット</a:t>
            </a:r>
            <a:endParaRPr lang="en-US" dirty="0"/>
          </a:p>
        </p:txBody>
      </p:sp>
      <p:sp>
        <p:nvSpPr>
          <p:cNvPr id="4" name="Marcador de texto 3"/>
          <p:cNvSpPr>
            <a:spLocks noGrp="1"/>
          </p:cNvSpPr>
          <p:nvPr>
            <p:ph type="body" sz="quarter" idx="21"/>
          </p:nvPr>
        </p:nvSpPr>
        <p:spPr/>
        <p:txBody>
          <a:bodyPr/>
          <a:lstStyle/>
          <a:p>
            <a:r>
              <a:rPr lang="es-ES" altLang="ja-JP" dirty="0"/>
              <a:t>02. RPA</a:t>
            </a:r>
            <a:r>
              <a:rPr lang="ja-JP" altLang="es-ES" dirty="0"/>
              <a:t>プロジェクトの期待効果</a:t>
            </a:r>
            <a:endParaRPr lang="en-GB" dirty="0"/>
          </a:p>
        </p:txBody>
      </p:sp>
      <p:pic>
        <p:nvPicPr>
          <p:cNvPr id="15" name="EV-ASSETS-nodos-2.png" descr="EV-ASSETS-nodos-2.png"/>
          <p:cNvPicPr>
            <a:picLocks noChangeAspect="1"/>
          </p:cNvPicPr>
          <p:nvPr/>
        </p:nvPicPr>
        <p:blipFill>
          <a:blip r:embed="rId2">
            <a:alphaModFix amt="25000"/>
          </a:blip>
          <a:stretch>
            <a:fillRect/>
          </a:stretch>
        </p:blipFill>
        <p:spPr>
          <a:xfrm>
            <a:off x="0" y="2004990"/>
            <a:ext cx="6784665" cy="7871307"/>
          </a:xfrm>
          <a:prstGeom prst="rect">
            <a:avLst/>
          </a:prstGeom>
          <a:ln w="12700">
            <a:miter lim="400000"/>
          </a:ln>
        </p:spPr>
      </p:pic>
      <p:sp>
        <p:nvSpPr>
          <p:cNvPr id="16" name="15 Rectángulo"/>
          <p:cNvSpPr/>
          <p:nvPr/>
        </p:nvSpPr>
        <p:spPr>
          <a:xfrm>
            <a:off x="4107034" y="3107576"/>
            <a:ext cx="2160000" cy="1440000"/>
          </a:xfrm>
          <a:prstGeom prst="rect">
            <a:avLst/>
          </a:prstGeom>
          <a:solidFill>
            <a:srgbClr val="205390">
              <a:lumMod val="20000"/>
              <a:lumOff val="80000"/>
            </a:srgb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17" name="Marcador de número de diapositiva 17"/>
          <p:cNvSpPr txBox="1">
            <a:spLocks/>
          </p:cNvSpPr>
          <p:nvPr/>
        </p:nvSpPr>
        <p:spPr>
          <a:xfrm>
            <a:off x="5646371" y="5077409"/>
            <a:ext cx="391782" cy="161430"/>
          </a:xfrm>
          <a:prstGeom prst="rect">
            <a:avLst/>
          </a:prstGeom>
          <a:ln w="3175">
            <a:miter lim="400000"/>
          </a:ln>
        </p:spPr>
        <p:txBody>
          <a:bodyPr wrap="square" lIns="17768" tIns="17768" rIns="17768" bIns="17768" anchor="ctr">
            <a:spAutoFit/>
          </a:bodyPr>
          <a:lstStyle>
            <a:defPPr>
              <a:defRPr lang="es-ES"/>
            </a:defPPr>
            <a:lvl1pPr marL="0" algn="l" defTabSz="914400" rtl="0" eaLnBrk="1" latinLnBrk="0" hangingPunct="1">
              <a:defRPr sz="900" kern="1200">
                <a:solidFill>
                  <a:srgbClr val="888888"/>
                </a:solidFill>
                <a:latin typeface="Arial"/>
                <a:ea typeface="Arial"/>
                <a:cs typeface="Arial"/>
                <a:sym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GB" sz="816">
                <a:latin typeface="+mn-lt"/>
              </a:rPr>
              <a:pPr/>
              <a:t>6</a:t>
            </a:fld>
            <a:endParaRPr lang="en-GB" sz="816" dirty="0">
              <a:latin typeface="+mn-lt"/>
            </a:endParaRPr>
          </a:p>
        </p:txBody>
      </p:sp>
      <p:sp>
        <p:nvSpPr>
          <p:cNvPr id="18" name="1 Rectángulo"/>
          <p:cNvSpPr/>
          <p:nvPr/>
        </p:nvSpPr>
        <p:spPr>
          <a:xfrm>
            <a:off x="1496370" y="1576180"/>
            <a:ext cx="2581730" cy="2971396"/>
          </a:xfrm>
          <a:prstGeom prst="rect">
            <a:avLst/>
          </a:prstGeom>
          <a:solidFill>
            <a:srgbClr val="002060"/>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chemeClr val="bg1"/>
              </a:solidFill>
              <a:effectLst/>
              <a:uLnTx/>
              <a:uFillTx/>
            </a:endParaRPr>
          </a:p>
        </p:txBody>
      </p:sp>
      <p:sp>
        <p:nvSpPr>
          <p:cNvPr id="19" name="21 Rectángulo"/>
          <p:cNvSpPr/>
          <p:nvPr/>
        </p:nvSpPr>
        <p:spPr>
          <a:xfrm>
            <a:off x="2490653" y="2860039"/>
            <a:ext cx="1488004" cy="1477328"/>
          </a:xfrm>
          <a:prstGeom prst="rect">
            <a:avLst/>
          </a:prstGeom>
        </p:spPr>
        <p:txBody>
          <a:bodyPr wrap="square">
            <a:spAutoFit/>
          </a:bodyPr>
          <a:lstStyle/>
          <a:p>
            <a:pPr marL="0" marR="0" lvl="0" indent="0" defTabSz="829178" eaLnBrk="1" fontAlgn="auto" latinLnBrk="0" hangingPunct="1">
              <a:lnSpc>
                <a:spcPct val="100000"/>
              </a:lnSpc>
              <a:spcBef>
                <a:spcPts val="0"/>
              </a:spcBef>
              <a:spcAft>
                <a:spcPts val="0"/>
              </a:spcAft>
              <a:buClrTx/>
              <a:buSzTx/>
              <a:buFontTx/>
              <a:buNone/>
              <a:tabLst/>
              <a:defRPr/>
            </a:pPr>
            <a:r>
              <a:rPr kumimoji="0" lang="ja-JP" altLang="es-ES" sz="900" b="0" i="0" u="none" strike="noStrike" kern="0" cap="none" spc="0" normalizeH="0" baseline="0" noProof="0" dirty="0">
                <a:ln>
                  <a:noFill/>
                </a:ln>
                <a:solidFill>
                  <a:schemeClr val="bg1"/>
                </a:solidFill>
                <a:effectLst/>
                <a:uLnTx/>
                <a:uFillTx/>
              </a:rPr>
              <a:t>既存システム間を繋ぐ、</a:t>
            </a:r>
            <a:endParaRPr kumimoji="0" lang="es-ES" altLang="ja-JP" sz="900" b="0" i="0" u="none" strike="noStrike" kern="0" cap="none" spc="0" normalizeH="0" baseline="0" noProof="0" dirty="0">
              <a:ln>
                <a:noFill/>
              </a:ln>
              <a:solidFill>
                <a:schemeClr val="bg1"/>
              </a:solidFill>
              <a:effectLst/>
              <a:uLnTx/>
              <a:uFillTx/>
            </a:endParaRPr>
          </a:p>
          <a:p>
            <a:pPr marL="0" marR="0" lvl="0" indent="0" defTabSz="829178" eaLnBrk="1" fontAlgn="auto" latinLnBrk="0" hangingPunct="1">
              <a:lnSpc>
                <a:spcPct val="100000"/>
              </a:lnSpc>
              <a:spcBef>
                <a:spcPts val="0"/>
              </a:spcBef>
              <a:spcAft>
                <a:spcPts val="0"/>
              </a:spcAft>
              <a:buClrTx/>
              <a:buSzTx/>
              <a:buFontTx/>
              <a:buNone/>
              <a:tabLst/>
              <a:defRPr/>
            </a:pPr>
            <a:r>
              <a:rPr lang="ja-JP" altLang="es-ES" sz="900" kern="0" dirty="0">
                <a:solidFill>
                  <a:schemeClr val="bg1"/>
                </a:solidFill>
              </a:rPr>
              <a:t>または既存システムを使って業務を遂行</a:t>
            </a:r>
            <a:endParaRPr lang="es-ES" altLang="ja-JP" sz="900" kern="0" dirty="0">
              <a:solidFill>
                <a:schemeClr val="bg1"/>
              </a:solidFill>
            </a:endParaRPr>
          </a:p>
          <a:p>
            <a:pPr marL="0" marR="0" lvl="0" indent="0" defTabSz="829178" eaLnBrk="1" fontAlgn="auto" latinLnBrk="0" hangingPunct="1">
              <a:lnSpc>
                <a:spcPct val="100000"/>
              </a:lnSpc>
              <a:spcBef>
                <a:spcPts val="0"/>
              </a:spcBef>
              <a:spcAft>
                <a:spcPts val="0"/>
              </a:spcAft>
              <a:buClrTx/>
              <a:buSzTx/>
              <a:buFontTx/>
              <a:buNone/>
              <a:tabLst/>
              <a:defRPr/>
            </a:pPr>
            <a:endParaRPr kumimoji="0" lang="es-ES" altLang="ja-JP" sz="900" b="0" i="0" u="none" strike="noStrike" kern="0" cap="none" spc="0" normalizeH="0" baseline="0" noProof="0" dirty="0">
              <a:ln>
                <a:noFill/>
              </a:ln>
              <a:solidFill>
                <a:schemeClr val="bg1"/>
              </a:solidFill>
              <a:effectLst/>
              <a:uLnTx/>
              <a:uFillTx/>
            </a:endParaRPr>
          </a:p>
          <a:p>
            <a:pPr marL="0" marR="0" lvl="0" indent="0" defTabSz="829178" eaLnBrk="1" fontAlgn="auto" latinLnBrk="0" hangingPunct="1">
              <a:lnSpc>
                <a:spcPct val="100000"/>
              </a:lnSpc>
              <a:spcBef>
                <a:spcPts val="0"/>
              </a:spcBef>
              <a:spcAft>
                <a:spcPts val="0"/>
              </a:spcAft>
              <a:buClrTx/>
              <a:buSzTx/>
              <a:buFontTx/>
              <a:buNone/>
              <a:tabLst/>
              <a:defRPr/>
            </a:pPr>
            <a:r>
              <a:rPr lang="ja-JP" altLang="es-ES" sz="900" kern="0" dirty="0">
                <a:solidFill>
                  <a:schemeClr val="bg1"/>
                </a:solidFill>
              </a:rPr>
              <a:t>システム改修を伴わず</a:t>
            </a:r>
            <a:endParaRPr lang="es-ES" altLang="ja-JP" sz="900" kern="0" dirty="0">
              <a:solidFill>
                <a:schemeClr val="bg1"/>
              </a:solidFill>
            </a:endParaRPr>
          </a:p>
          <a:p>
            <a:pPr marL="0" marR="0" lvl="0" indent="0" defTabSz="829178" eaLnBrk="1" fontAlgn="auto" latinLnBrk="0" hangingPunct="1">
              <a:lnSpc>
                <a:spcPct val="100000"/>
              </a:lnSpc>
              <a:spcBef>
                <a:spcPts val="0"/>
              </a:spcBef>
              <a:spcAft>
                <a:spcPts val="0"/>
              </a:spcAft>
              <a:buClrTx/>
              <a:buSzTx/>
              <a:buFontTx/>
              <a:buNone/>
              <a:tabLst/>
              <a:defRPr/>
            </a:pPr>
            <a:r>
              <a:rPr kumimoji="0" lang="es-ES" altLang="ja-JP" sz="900" b="0" i="0" u="none" strike="noStrike" kern="0" cap="none" spc="0" normalizeH="0" baseline="0" noProof="0" dirty="0" err="1">
                <a:ln>
                  <a:noFill/>
                </a:ln>
                <a:solidFill>
                  <a:schemeClr val="bg1"/>
                </a:solidFill>
                <a:effectLst/>
                <a:uLnTx/>
                <a:uFillTx/>
              </a:rPr>
              <a:t>Add-on</a:t>
            </a:r>
            <a:r>
              <a:rPr kumimoji="0" lang="ja-JP" altLang="es-ES" sz="900" b="0" i="0" u="none" strike="noStrike" kern="0" cap="none" spc="0" normalizeH="0" baseline="0" noProof="0" dirty="0">
                <a:ln>
                  <a:noFill/>
                </a:ln>
                <a:solidFill>
                  <a:schemeClr val="bg1"/>
                </a:solidFill>
                <a:effectLst/>
                <a:uLnTx/>
                <a:uFillTx/>
              </a:rPr>
              <a:t>の形で活用</a:t>
            </a:r>
            <a:endParaRPr kumimoji="0" lang="es-ES" altLang="ja-JP" sz="900" b="0" i="0" u="none" strike="noStrike" kern="0" cap="none" spc="0" normalizeH="0" baseline="0" noProof="0" dirty="0">
              <a:ln>
                <a:noFill/>
              </a:ln>
              <a:solidFill>
                <a:schemeClr val="bg1"/>
              </a:solidFill>
              <a:effectLst/>
              <a:uLnTx/>
              <a:uFillTx/>
            </a:endParaRPr>
          </a:p>
          <a:p>
            <a:pPr marL="0" marR="0" lvl="0" indent="0" defTabSz="829178" eaLnBrk="1" fontAlgn="auto" latinLnBrk="0" hangingPunct="1">
              <a:lnSpc>
                <a:spcPct val="100000"/>
              </a:lnSpc>
              <a:spcBef>
                <a:spcPts val="0"/>
              </a:spcBef>
              <a:spcAft>
                <a:spcPts val="0"/>
              </a:spcAft>
              <a:buClrTx/>
              <a:buSzTx/>
              <a:buFontTx/>
              <a:buNone/>
              <a:tabLst/>
              <a:defRPr/>
            </a:pPr>
            <a:endParaRPr lang="es-ES" sz="900" kern="0" dirty="0">
              <a:solidFill>
                <a:schemeClr val="bg1"/>
              </a:solidFill>
            </a:endParaRPr>
          </a:p>
          <a:p>
            <a:pPr marL="0" marR="0" lvl="0" indent="0" defTabSz="829178" eaLnBrk="1" fontAlgn="auto" latinLnBrk="0" hangingPunct="1">
              <a:lnSpc>
                <a:spcPct val="100000"/>
              </a:lnSpc>
              <a:spcBef>
                <a:spcPts val="0"/>
              </a:spcBef>
              <a:spcAft>
                <a:spcPts val="0"/>
              </a:spcAft>
              <a:buClrTx/>
              <a:buSzTx/>
              <a:buFontTx/>
              <a:buNone/>
              <a:tabLst/>
              <a:defRPr/>
            </a:pPr>
            <a:r>
              <a:rPr kumimoji="0" lang="ja-JP" altLang="es-ES" sz="900" b="0" i="0" u="none" strike="noStrike" kern="0" cap="none" spc="0" normalizeH="0" baseline="0" noProof="0" dirty="0">
                <a:ln>
                  <a:noFill/>
                </a:ln>
                <a:solidFill>
                  <a:schemeClr val="bg1"/>
                </a:solidFill>
                <a:effectLst/>
                <a:uLnTx/>
                <a:uFillTx/>
              </a:rPr>
              <a:t>オフィスで使用される</a:t>
            </a:r>
            <a:endParaRPr kumimoji="0" lang="es-ES" altLang="ja-JP" sz="900" b="0" i="0" u="none" strike="noStrike" kern="0" cap="none" spc="0" normalizeH="0" baseline="0" noProof="0" dirty="0">
              <a:ln>
                <a:noFill/>
              </a:ln>
              <a:solidFill>
                <a:schemeClr val="bg1"/>
              </a:solidFill>
              <a:effectLst/>
              <a:uLnTx/>
              <a:uFillTx/>
            </a:endParaRPr>
          </a:p>
          <a:p>
            <a:pPr marL="0" marR="0" lvl="0" indent="0" defTabSz="829178" eaLnBrk="1" fontAlgn="auto" latinLnBrk="0" hangingPunct="1">
              <a:lnSpc>
                <a:spcPct val="100000"/>
              </a:lnSpc>
              <a:spcBef>
                <a:spcPts val="0"/>
              </a:spcBef>
              <a:spcAft>
                <a:spcPts val="0"/>
              </a:spcAft>
              <a:buClrTx/>
              <a:buSzTx/>
              <a:buFontTx/>
              <a:buNone/>
              <a:tabLst/>
              <a:defRPr/>
            </a:pPr>
            <a:r>
              <a:rPr kumimoji="0" lang="ja-JP" altLang="es-ES" sz="900" b="0" i="0" u="none" strike="noStrike" kern="0" cap="none" spc="0" normalizeH="0" baseline="0" noProof="0" dirty="0">
                <a:ln>
                  <a:noFill/>
                </a:ln>
                <a:solidFill>
                  <a:schemeClr val="bg1"/>
                </a:solidFill>
                <a:effectLst/>
                <a:uLnTx/>
                <a:uFillTx/>
              </a:rPr>
              <a:t>システムや</a:t>
            </a:r>
            <a:r>
              <a:rPr kumimoji="0" lang="es-ES" altLang="ja-JP" sz="900" b="0" i="0" u="none" strike="noStrike" kern="0" cap="none" spc="0" normalizeH="0" baseline="0" noProof="0" dirty="0">
                <a:ln>
                  <a:noFill/>
                </a:ln>
                <a:solidFill>
                  <a:schemeClr val="bg1"/>
                </a:solidFill>
                <a:effectLst/>
                <a:uLnTx/>
                <a:uFillTx/>
              </a:rPr>
              <a:t>Web</a:t>
            </a:r>
            <a:r>
              <a:rPr kumimoji="0" lang="ja-JP" altLang="es-ES" sz="900" b="0" i="0" u="none" strike="noStrike" kern="0" cap="none" spc="0" normalizeH="0" baseline="0" noProof="0" dirty="0">
                <a:ln>
                  <a:noFill/>
                </a:ln>
                <a:solidFill>
                  <a:schemeClr val="bg1"/>
                </a:solidFill>
                <a:effectLst/>
                <a:uLnTx/>
                <a:uFillTx/>
              </a:rPr>
              <a:t>など、</a:t>
            </a:r>
            <a:endParaRPr kumimoji="0" lang="es-ES" altLang="ja-JP" sz="900" b="0" i="0" u="none" strike="noStrike" kern="0" cap="none" spc="0" normalizeH="0" baseline="0" noProof="0" dirty="0">
              <a:ln>
                <a:noFill/>
              </a:ln>
              <a:solidFill>
                <a:schemeClr val="bg1"/>
              </a:solidFill>
              <a:effectLst/>
              <a:uLnTx/>
              <a:uFillTx/>
            </a:endParaRPr>
          </a:p>
          <a:p>
            <a:pPr marL="0" marR="0" lvl="0" indent="0" defTabSz="829178" eaLnBrk="1" fontAlgn="auto" latinLnBrk="0" hangingPunct="1">
              <a:lnSpc>
                <a:spcPct val="100000"/>
              </a:lnSpc>
              <a:spcBef>
                <a:spcPts val="0"/>
              </a:spcBef>
              <a:spcAft>
                <a:spcPts val="0"/>
              </a:spcAft>
              <a:buClrTx/>
              <a:buSzTx/>
              <a:buFontTx/>
              <a:buNone/>
              <a:tabLst/>
              <a:defRPr/>
            </a:pPr>
            <a:r>
              <a:rPr lang="ja-JP" altLang="es-ES" sz="900" kern="0" noProof="0" dirty="0">
                <a:solidFill>
                  <a:schemeClr val="bg1"/>
                </a:solidFill>
              </a:rPr>
              <a:t>様々なしくみと連携可能</a:t>
            </a:r>
            <a:endParaRPr kumimoji="0" lang="en-GB" sz="900" b="0" i="0" u="none" strike="noStrike" kern="0" cap="none" spc="0" normalizeH="0" baseline="0" noProof="0" dirty="0">
              <a:ln>
                <a:noFill/>
              </a:ln>
              <a:solidFill>
                <a:schemeClr val="bg1"/>
              </a:solidFill>
              <a:effectLst/>
              <a:uLnTx/>
              <a:uFillTx/>
            </a:endParaRPr>
          </a:p>
        </p:txBody>
      </p:sp>
      <p:sp>
        <p:nvSpPr>
          <p:cNvPr id="20" name="22 Rectángulo"/>
          <p:cNvSpPr/>
          <p:nvPr/>
        </p:nvSpPr>
        <p:spPr>
          <a:xfrm>
            <a:off x="1638035" y="1673102"/>
            <a:ext cx="1725740" cy="985398"/>
          </a:xfrm>
          <a:prstGeom prst="rect">
            <a:avLst/>
          </a:prstGeom>
        </p:spPr>
        <p:txBody>
          <a:bodyPr wrap="square">
            <a:spAutoFit/>
          </a:bodyPr>
          <a:lstStyle/>
          <a:p>
            <a:pPr defTabSz="829178">
              <a:defRPr/>
            </a:pPr>
            <a:r>
              <a:rPr lang="en-GB" sz="1400" b="1" kern="0" dirty="0">
                <a:solidFill>
                  <a:schemeClr val="bg1"/>
                </a:solidFill>
                <a:cs typeface="Calibri" pitchFamily="34" charset="0"/>
              </a:rPr>
              <a:t>NON-INVASIVE TECHNOLOGY</a:t>
            </a:r>
          </a:p>
          <a:p>
            <a:pPr defTabSz="829178">
              <a:defRPr/>
            </a:pPr>
            <a:r>
              <a:rPr lang="ja-JP" altLang="es-ES" sz="1451" b="1" kern="0" dirty="0">
                <a:solidFill>
                  <a:schemeClr val="bg1"/>
                </a:solidFill>
                <a:cs typeface="Calibri" pitchFamily="34" charset="0"/>
              </a:rPr>
              <a:t>既存システムの</a:t>
            </a:r>
            <a:endParaRPr lang="es-ES" altLang="ja-JP" sz="1451" b="1" kern="0" dirty="0">
              <a:solidFill>
                <a:schemeClr val="bg1"/>
              </a:solidFill>
              <a:cs typeface="Calibri" pitchFamily="34" charset="0"/>
            </a:endParaRPr>
          </a:p>
          <a:p>
            <a:pPr defTabSz="829178">
              <a:defRPr/>
            </a:pPr>
            <a:r>
              <a:rPr lang="ja-JP" altLang="es-ES" sz="1451" b="1" kern="0" dirty="0">
                <a:solidFill>
                  <a:schemeClr val="bg1"/>
                </a:solidFill>
                <a:cs typeface="Calibri" pitchFamily="34" charset="0"/>
              </a:rPr>
              <a:t>改修を伴わない</a:t>
            </a:r>
            <a:endParaRPr lang="en-GB" sz="1451" b="1" kern="0" dirty="0">
              <a:solidFill>
                <a:schemeClr val="bg1"/>
              </a:solidFill>
              <a:cs typeface="Calibri" pitchFamily="34" charset="0"/>
            </a:endParaRPr>
          </a:p>
        </p:txBody>
      </p:sp>
      <p:pic>
        <p:nvPicPr>
          <p:cNvPr id="21" name="Picture 7" descr="C:\Users\rortilla\Downloads\computer.png"/>
          <p:cNvPicPr>
            <a:picLocks noChangeAspect="1" noChangeArrowheads="1"/>
          </p:cNvPicPr>
          <p:nvPr/>
        </p:nvPicPr>
        <p:blipFill>
          <a:blip r:embed="rId3" cstate="print">
            <a:duotone>
              <a:prstClr val="black"/>
              <a:srgbClr val="00A2FF">
                <a:tint val="45000"/>
                <a:satMod val="400000"/>
              </a:srgbClr>
            </a:duotone>
            <a:extLst>
              <a:ext uri="{28A0092B-C50C-407E-A947-70E740481C1C}">
                <a14:useLocalDpi xmlns:a14="http://schemas.microsoft.com/office/drawing/2010/main" val="0"/>
              </a:ext>
            </a:extLst>
          </a:blip>
          <a:srcRect/>
          <a:stretch>
            <a:fillRect/>
          </a:stretch>
        </p:blipFill>
        <p:spPr bwMode="auto">
          <a:xfrm>
            <a:off x="1541451" y="2792874"/>
            <a:ext cx="949202" cy="10735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descr="C:\Users\rortilla\Downloads\communicati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44639" y="4318250"/>
            <a:ext cx="457164" cy="388489"/>
          </a:xfrm>
          <a:prstGeom prst="rect">
            <a:avLst/>
          </a:prstGeom>
          <a:noFill/>
          <a:extLst>
            <a:ext uri="{909E8E84-426E-40DD-AFC4-6F175D3DCCD1}">
              <a14:hiddenFill xmlns:a14="http://schemas.microsoft.com/office/drawing/2010/main">
                <a:solidFill>
                  <a:srgbClr val="FFFFFF"/>
                </a:solidFill>
              </a14:hiddenFill>
            </a:ext>
          </a:extLst>
        </p:spPr>
      </p:pic>
      <p:sp>
        <p:nvSpPr>
          <p:cNvPr id="23" name="7 Rectángulo"/>
          <p:cNvSpPr/>
          <p:nvPr/>
        </p:nvSpPr>
        <p:spPr>
          <a:xfrm>
            <a:off x="4107034" y="4613336"/>
            <a:ext cx="2160000" cy="1440000"/>
          </a:xfrm>
          <a:prstGeom prst="rect">
            <a:avLst/>
          </a:prstGeom>
          <a:solidFill>
            <a:srgbClr val="FFFFFF">
              <a:lumMod val="95000"/>
            </a:srgbClr>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24" name="33 Rectángulo"/>
          <p:cNvSpPr/>
          <p:nvPr/>
        </p:nvSpPr>
        <p:spPr>
          <a:xfrm>
            <a:off x="4133322" y="5421501"/>
            <a:ext cx="1764520" cy="507831"/>
          </a:xfrm>
          <a:prstGeom prst="rect">
            <a:avLst/>
          </a:prstGeom>
        </p:spPr>
        <p:txBody>
          <a:bodyPr wrap="square">
            <a:spAutoFit/>
          </a:bodyPr>
          <a:lstStyle/>
          <a:p>
            <a:r>
              <a:rPr lang="ja-JP" altLang="es-ES" sz="900" dirty="0">
                <a:solidFill>
                  <a:srgbClr val="080808"/>
                </a:solidFill>
                <a:cs typeface="Calibri" pitchFamily="34" charset="0"/>
              </a:rPr>
              <a:t>ガバナンスの強化、</a:t>
            </a:r>
            <a:endParaRPr lang="es-ES" altLang="ja-JP" sz="900" dirty="0">
              <a:solidFill>
                <a:srgbClr val="080808"/>
              </a:solidFill>
              <a:cs typeface="Calibri" pitchFamily="34" charset="0"/>
            </a:endParaRPr>
          </a:p>
          <a:p>
            <a:r>
              <a:rPr lang="ja-JP" altLang="es-ES" sz="900" dirty="0">
                <a:solidFill>
                  <a:srgbClr val="080808"/>
                </a:solidFill>
                <a:cs typeface="Calibri" pitchFamily="34" charset="0"/>
              </a:rPr>
              <a:t>セキュリティ・リスク</a:t>
            </a:r>
            <a:endParaRPr lang="es-ES" altLang="ja-JP" sz="900" dirty="0">
              <a:solidFill>
                <a:srgbClr val="080808"/>
              </a:solidFill>
              <a:cs typeface="Calibri" pitchFamily="34" charset="0"/>
            </a:endParaRPr>
          </a:p>
          <a:p>
            <a:r>
              <a:rPr lang="ja-JP" altLang="es-ES" sz="900" dirty="0">
                <a:solidFill>
                  <a:srgbClr val="080808"/>
                </a:solidFill>
                <a:cs typeface="Calibri" pitchFamily="34" charset="0"/>
              </a:rPr>
              <a:t>管理レベルの向上</a:t>
            </a:r>
            <a:endParaRPr lang="en-GB" sz="900" dirty="0">
              <a:solidFill>
                <a:srgbClr val="080808"/>
              </a:solidFill>
              <a:cs typeface="Calibri" pitchFamily="34" charset="0"/>
            </a:endParaRPr>
          </a:p>
        </p:txBody>
      </p:sp>
      <p:sp>
        <p:nvSpPr>
          <p:cNvPr id="25" name="34 Rectángulo"/>
          <p:cNvSpPr/>
          <p:nvPr/>
        </p:nvSpPr>
        <p:spPr>
          <a:xfrm>
            <a:off x="4097184" y="4655461"/>
            <a:ext cx="2386312" cy="762132"/>
          </a:xfrm>
          <a:prstGeom prst="rect">
            <a:avLst/>
          </a:prstGeom>
        </p:spPr>
        <p:txBody>
          <a:bodyPr wrap="square">
            <a:spAutoFit/>
          </a:bodyPr>
          <a:lstStyle/>
          <a:p>
            <a:pPr>
              <a:defRPr/>
            </a:pPr>
            <a:r>
              <a:rPr lang="en-GB" sz="1451" b="1" kern="0" dirty="0">
                <a:solidFill>
                  <a:srgbClr val="080808"/>
                </a:solidFill>
                <a:cs typeface="Calibri" pitchFamily="34" charset="0"/>
              </a:rPr>
              <a:t>IMPROVED MANAGEMENT</a:t>
            </a:r>
          </a:p>
          <a:p>
            <a:pPr>
              <a:defRPr/>
            </a:pPr>
            <a:r>
              <a:rPr lang="ja-JP" altLang="es-ES" sz="1451" b="1" kern="0" dirty="0">
                <a:solidFill>
                  <a:srgbClr val="080808"/>
                </a:solidFill>
                <a:cs typeface="Calibri" pitchFamily="34" charset="0"/>
              </a:rPr>
              <a:t>マネジメントレベル向上</a:t>
            </a:r>
            <a:endParaRPr lang="en-GB" sz="1451" b="1" kern="0" dirty="0">
              <a:solidFill>
                <a:srgbClr val="080808"/>
              </a:solidFill>
              <a:cs typeface="Calibri" pitchFamily="34" charset="0"/>
            </a:endParaRPr>
          </a:p>
        </p:txBody>
      </p:sp>
      <p:sp>
        <p:nvSpPr>
          <p:cNvPr id="26" name="11 Rectángulo"/>
          <p:cNvSpPr/>
          <p:nvPr/>
        </p:nvSpPr>
        <p:spPr>
          <a:xfrm>
            <a:off x="6330277" y="3107576"/>
            <a:ext cx="2160000" cy="1440000"/>
          </a:xfrm>
          <a:prstGeom prst="rect">
            <a:avLst/>
          </a:prstGeom>
          <a:solidFill>
            <a:srgbClr val="205390"/>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27" name="33 Rectángulo"/>
          <p:cNvSpPr/>
          <p:nvPr/>
        </p:nvSpPr>
        <p:spPr>
          <a:xfrm>
            <a:off x="6345413" y="3781502"/>
            <a:ext cx="1626257" cy="646331"/>
          </a:xfrm>
          <a:prstGeom prst="rect">
            <a:avLst/>
          </a:prstGeom>
        </p:spPr>
        <p:txBody>
          <a:bodyPr wrap="square">
            <a:spAutoFit/>
          </a:bodyPr>
          <a:lstStyle/>
          <a:p>
            <a:endParaRPr lang="en-GB" sz="900" dirty="0">
              <a:solidFill>
                <a:srgbClr val="FFFFFF"/>
              </a:solidFill>
              <a:cs typeface="Calibri" pitchFamily="34" charset="0"/>
            </a:endParaRPr>
          </a:p>
          <a:p>
            <a:r>
              <a:rPr lang="en-GB" sz="900" dirty="0">
                <a:solidFill>
                  <a:srgbClr val="FFFFFF"/>
                </a:solidFill>
                <a:cs typeface="Calibri" pitchFamily="34" charset="0"/>
              </a:rPr>
              <a:t>100%</a:t>
            </a:r>
            <a:r>
              <a:rPr lang="ja-JP" altLang="es-ES" sz="900" dirty="0">
                <a:solidFill>
                  <a:srgbClr val="FFFFFF"/>
                </a:solidFill>
                <a:cs typeface="Calibri" pitchFamily="34" charset="0"/>
              </a:rPr>
              <a:t>全ての作業が記録され</a:t>
            </a:r>
            <a:endParaRPr lang="es-ES" altLang="ja-JP" sz="900" dirty="0">
              <a:solidFill>
                <a:srgbClr val="FFFFFF"/>
              </a:solidFill>
              <a:cs typeface="Calibri" pitchFamily="34" charset="0"/>
            </a:endParaRPr>
          </a:p>
          <a:p>
            <a:r>
              <a:rPr lang="ja-JP" altLang="es-ES" sz="900" dirty="0">
                <a:solidFill>
                  <a:srgbClr val="FFFFFF"/>
                </a:solidFill>
                <a:cs typeface="Calibri" pitchFamily="34" charset="0"/>
              </a:rPr>
              <a:t>トラッキングされた履歴を</a:t>
            </a:r>
            <a:endParaRPr lang="es-ES" altLang="ja-JP" sz="900" dirty="0">
              <a:solidFill>
                <a:srgbClr val="FFFFFF"/>
              </a:solidFill>
              <a:cs typeface="Calibri" pitchFamily="34" charset="0"/>
            </a:endParaRPr>
          </a:p>
          <a:p>
            <a:r>
              <a:rPr lang="ja-JP" altLang="es-ES" sz="900" dirty="0">
                <a:solidFill>
                  <a:srgbClr val="FFFFFF"/>
                </a:solidFill>
                <a:cs typeface="Calibri" pitchFamily="34" charset="0"/>
              </a:rPr>
              <a:t>遡ることも可能</a:t>
            </a:r>
            <a:endParaRPr lang="en-GB" sz="900" dirty="0">
              <a:solidFill>
                <a:srgbClr val="FFFFFF"/>
              </a:solidFill>
              <a:cs typeface="Calibri" pitchFamily="34" charset="0"/>
            </a:endParaRPr>
          </a:p>
        </p:txBody>
      </p:sp>
      <p:sp>
        <p:nvSpPr>
          <p:cNvPr id="28" name="34 Rectángulo"/>
          <p:cNvSpPr/>
          <p:nvPr/>
        </p:nvSpPr>
        <p:spPr>
          <a:xfrm>
            <a:off x="6393040" y="3185365"/>
            <a:ext cx="1232088" cy="5388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FFFFFF"/>
                </a:solidFill>
                <a:effectLst/>
                <a:uLnTx/>
                <a:uFillTx/>
                <a:cs typeface="Calibri" pitchFamily="34" charset="0"/>
              </a:rPr>
              <a:t>AUDIT</a:t>
            </a:r>
          </a:p>
          <a:p>
            <a:pPr marL="0" marR="0" lvl="0" indent="0" defTabSz="914400" eaLnBrk="1" fontAlgn="auto" latinLnBrk="0" hangingPunct="1">
              <a:lnSpc>
                <a:spcPct val="100000"/>
              </a:lnSpc>
              <a:spcBef>
                <a:spcPts val="0"/>
              </a:spcBef>
              <a:spcAft>
                <a:spcPts val="0"/>
              </a:spcAft>
              <a:buClrTx/>
              <a:buSzTx/>
              <a:buFontTx/>
              <a:buNone/>
              <a:tabLst/>
              <a:defRPr/>
            </a:pPr>
            <a:r>
              <a:rPr lang="ja-JP" altLang="es-ES" sz="1451" b="1" kern="0" dirty="0">
                <a:solidFill>
                  <a:srgbClr val="FFFFFF"/>
                </a:solidFill>
                <a:cs typeface="Calibri" pitchFamily="34" charset="0"/>
              </a:rPr>
              <a:t>監査・記録</a:t>
            </a:r>
            <a:endParaRPr kumimoji="0" lang="en-GB" sz="1451" b="1" i="0" u="none" strike="noStrike" kern="0" cap="none" spc="0" normalizeH="0" baseline="0" noProof="0" dirty="0">
              <a:ln>
                <a:noFill/>
              </a:ln>
              <a:solidFill>
                <a:srgbClr val="000000"/>
              </a:solidFill>
              <a:effectLst/>
              <a:uLnTx/>
              <a:uFillTx/>
            </a:endParaRPr>
          </a:p>
        </p:txBody>
      </p:sp>
      <p:sp>
        <p:nvSpPr>
          <p:cNvPr id="29" name="36 Rectángulo"/>
          <p:cNvSpPr/>
          <p:nvPr/>
        </p:nvSpPr>
        <p:spPr>
          <a:xfrm>
            <a:off x="4152402" y="3829004"/>
            <a:ext cx="1448550"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ja-JP" altLang="es-ES" sz="900" kern="0" dirty="0">
                <a:solidFill>
                  <a:srgbClr val="080808"/>
                </a:solidFill>
              </a:rPr>
              <a:t>ロボットが繰返し業務を実施することで</a:t>
            </a:r>
            <a:endParaRPr lang="es-ES" altLang="ja-JP" sz="900" kern="0" dirty="0">
              <a:solidFill>
                <a:srgbClr val="080808"/>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s-ES" sz="900" i="0" u="none" strike="noStrike" kern="0" cap="none" spc="0" normalizeH="0" baseline="0" noProof="0" dirty="0">
                <a:ln>
                  <a:noFill/>
                </a:ln>
                <a:solidFill>
                  <a:srgbClr val="080808"/>
                </a:solidFill>
                <a:effectLst/>
                <a:uLnTx/>
                <a:uFillTx/>
              </a:rPr>
              <a:t>従業員は更に付加価値がある業務に集中</a:t>
            </a:r>
            <a:endParaRPr kumimoji="0" lang="en-GB" sz="900" i="0" u="none" strike="noStrike" kern="0" cap="none" spc="0" normalizeH="0" baseline="0" noProof="0" dirty="0">
              <a:ln>
                <a:noFill/>
              </a:ln>
              <a:solidFill>
                <a:srgbClr val="080808"/>
              </a:solidFill>
              <a:effectLst/>
              <a:uLnTx/>
              <a:uFillTx/>
            </a:endParaRPr>
          </a:p>
        </p:txBody>
      </p:sp>
      <p:sp>
        <p:nvSpPr>
          <p:cNvPr id="30" name="37 Rectángulo"/>
          <p:cNvSpPr/>
          <p:nvPr/>
        </p:nvSpPr>
        <p:spPr>
          <a:xfrm>
            <a:off x="4150855" y="3203653"/>
            <a:ext cx="1704990" cy="5388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080808"/>
                </a:solidFill>
                <a:effectLst/>
                <a:uLnTx/>
                <a:uFillTx/>
              </a:rPr>
              <a:t>PRODUCTIVITY</a:t>
            </a:r>
          </a:p>
          <a:p>
            <a:pPr marL="0" marR="0" lvl="0" indent="0" defTabSz="914400" eaLnBrk="1" fontAlgn="auto" latinLnBrk="0" hangingPunct="1">
              <a:lnSpc>
                <a:spcPct val="100000"/>
              </a:lnSpc>
              <a:spcBef>
                <a:spcPts val="0"/>
              </a:spcBef>
              <a:spcAft>
                <a:spcPts val="0"/>
              </a:spcAft>
              <a:buClrTx/>
              <a:buSzTx/>
              <a:buFontTx/>
              <a:buNone/>
              <a:tabLst/>
              <a:defRPr/>
            </a:pPr>
            <a:r>
              <a:rPr lang="ja-JP" altLang="es-ES" sz="1451" b="1" kern="0" dirty="0">
                <a:solidFill>
                  <a:srgbClr val="080808"/>
                </a:solidFill>
              </a:rPr>
              <a:t>生産性</a:t>
            </a:r>
            <a:endParaRPr kumimoji="0" lang="en-GB" sz="1451" b="1" i="0" u="none" strike="noStrike" kern="0" cap="none" spc="0" normalizeH="0" baseline="0" noProof="0" dirty="0">
              <a:ln>
                <a:noFill/>
              </a:ln>
              <a:solidFill>
                <a:srgbClr val="080808"/>
              </a:solidFill>
              <a:effectLst/>
              <a:uLnTx/>
              <a:uFillTx/>
            </a:endParaRPr>
          </a:p>
        </p:txBody>
      </p:sp>
      <p:pic>
        <p:nvPicPr>
          <p:cNvPr id="31" name="Imagen 183"/>
          <p:cNvPicPr>
            <a:picLocks noChangeAspect="1"/>
          </p:cNvPicPr>
          <p:nvPr/>
        </p:nvPicPr>
        <p:blipFill>
          <a:blip r:embed="rId5" cstate="print">
            <a:duotone>
              <a:prstClr val="black"/>
              <a:srgbClr val="205390">
                <a:tint val="45000"/>
                <a:satMod val="400000"/>
              </a:srgbClr>
            </a:duotone>
            <a:extLst>
              <a:ext uri="{28A0092B-C50C-407E-A947-70E740481C1C}">
                <a14:useLocalDpi xmlns:a14="http://schemas.microsoft.com/office/drawing/2010/main" val="0"/>
              </a:ext>
            </a:extLst>
          </a:blip>
          <a:stretch>
            <a:fillRect/>
          </a:stretch>
        </p:blipFill>
        <p:spPr>
          <a:xfrm>
            <a:off x="5584875" y="3664412"/>
            <a:ext cx="592141" cy="592141"/>
          </a:xfrm>
          <a:prstGeom prst="rect">
            <a:avLst/>
          </a:prstGeom>
        </p:spPr>
      </p:pic>
      <p:sp>
        <p:nvSpPr>
          <p:cNvPr id="32" name="10 Rectángulo"/>
          <p:cNvSpPr/>
          <p:nvPr/>
        </p:nvSpPr>
        <p:spPr>
          <a:xfrm>
            <a:off x="8553520" y="1624580"/>
            <a:ext cx="2160000" cy="1440000"/>
          </a:xfrm>
          <a:prstGeom prst="rect">
            <a:avLst/>
          </a:prstGeom>
          <a:solidFill>
            <a:srgbClr val="205390"/>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FFFFFF"/>
              </a:solidFill>
              <a:effectLst/>
              <a:uLnTx/>
              <a:uFillTx/>
            </a:endParaRPr>
          </a:p>
        </p:txBody>
      </p:sp>
      <p:sp>
        <p:nvSpPr>
          <p:cNvPr id="33" name="27 Rectángulo"/>
          <p:cNvSpPr/>
          <p:nvPr/>
        </p:nvSpPr>
        <p:spPr>
          <a:xfrm>
            <a:off x="8718902" y="2384999"/>
            <a:ext cx="1850602" cy="569387"/>
          </a:xfrm>
          <a:prstGeom prst="rect">
            <a:avLst/>
          </a:prstGeom>
        </p:spPr>
        <p:txBody>
          <a:bodyPr wrap="square">
            <a:spAutoFit/>
          </a:bodyPr>
          <a:lstStyle/>
          <a:p>
            <a:r>
              <a:rPr lang="ja-JP" altLang="es-ES" sz="900" dirty="0">
                <a:solidFill>
                  <a:srgbClr val="FFFFFF"/>
                </a:solidFill>
                <a:cs typeface="Calibri" pitchFamily="34" charset="0"/>
              </a:rPr>
              <a:t>バックオフィス業務時間</a:t>
            </a:r>
            <a:endParaRPr lang="es-ES" altLang="ja-JP" sz="900" dirty="0">
              <a:solidFill>
                <a:srgbClr val="FFFFFF"/>
              </a:solidFill>
              <a:cs typeface="Calibri" pitchFamily="34" charset="0"/>
            </a:endParaRPr>
          </a:p>
          <a:p>
            <a:r>
              <a:rPr lang="ja-JP" altLang="es-ES" sz="900" dirty="0">
                <a:solidFill>
                  <a:srgbClr val="FFFFFF"/>
                </a:solidFill>
                <a:cs typeface="Calibri" pitchFamily="34" charset="0"/>
              </a:rPr>
              <a:t>約</a:t>
            </a:r>
            <a:r>
              <a:rPr lang="es-ES" altLang="ja-JP" sz="900" dirty="0">
                <a:solidFill>
                  <a:srgbClr val="FFFFFF"/>
                </a:solidFill>
                <a:cs typeface="Calibri" pitchFamily="34" charset="0"/>
              </a:rPr>
              <a:t>30</a:t>
            </a:r>
            <a:r>
              <a:rPr lang="ja-JP" altLang="es-ES" sz="900" dirty="0">
                <a:solidFill>
                  <a:srgbClr val="FFFFFF"/>
                </a:solidFill>
                <a:cs typeface="Calibri" pitchFamily="34" charset="0"/>
              </a:rPr>
              <a:t>～</a:t>
            </a:r>
            <a:r>
              <a:rPr lang="es-ES" altLang="ja-JP" sz="900" dirty="0">
                <a:solidFill>
                  <a:srgbClr val="FFFFFF"/>
                </a:solidFill>
                <a:cs typeface="Calibri" pitchFamily="34" charset="0"/>
              </a:rPr>
              <a:t>60%</a:t>
            </a:r>
            <a:r>
              <a:rPr lang="ja-JP" altLang="es-ES" sz="900" dirty="0">
                <a:solidFill>
                  <a:srgbClr val="FFFFFF"/>
                </a:solidFill>
                <a:cs typeface="Calibri" pitchFamily="34" charset="0"/>
              </a:rPr>
              <a:t>の低減</a:t>
            </a:r>
            <a:endParaRPr lang="es-ES" altLang="ja-JP" sz="900" dirty="0">
              <a:solidFill>
                <a:srgbClr val="FFFFFF"/>
              </a:solidFill>
              <a:cs typeface="Calibri" pitchFamily="34" charset="0"/>
            </a:endParaRPr>
          </a:p>
          <a:p>
            <a:endParaRPr lang="es-ES" altLang="ja-JP" sz="400" dirty="0">
              <a:solidFill>
                <a:srgbClr val="FFFFFF"/>
              </a:solidFill>
              <a:cs typeface="Calibri" pitchFamily="34" charset="0"/>
            </a:endParaRPr>
          </a:p>
          <a:p>
            <a:r>
              <a:rPr lang="es-ES" altLang="ja-JP" sz="900" dirty="0">
                <a:solidFill>
                  <a:srgbClr val="FFFFFF"/>
                </a:solidFill>
                <a:cs typeface="Calibri" pitchFamily="34" charset="0"/>
              </a:rPr>
              <a:t>*</a:t>
            </a:r>
            <a:r>
              <a:rPr lang="ja-JP" altLang="es-ES" sz="900" dirty="0">
                <a:solidFill>
                  <a:srgbClr val="FFFFFF"/>
                </a:solidFill>
                <a:cs typeface="Calibri" pitchFamily="34" charset="0"/>
              </a:rPr>
              <a:t>弊社プロジェクト内での</a:t>
            </a:r>
            <a:r>
              <a:rPr lang="es-ES" altLang="ja-JP" sz="900" dirty="0">
                <a:solidFill>
                  <a:srgbClr val="FFFFFF"/>
                </a:solidFill>
                <a:cs typeface="Calibri" pitchFamily="34" charset="0"/>
              </a:rPr>
              <a:t>KPI</a:t>
            </a:r>
            <a:endParaRPr lang="en-GB" sz="900" dirty="0">
              <a:solidFill>
                <a:srgbClr val="FFFFFF"/>
              </a:solidFill>
              <a:cs typeface="Calibri" pitchFamily="34" charset="0"/>
            </a:endParaRPr>
          </a:p>
        </p:txBody>
      </p:sp>
      <p:sp>
        <p:nvSpPr>
          <p:cNvPr id="34" name="28 Rectángulo"/>
          <p:cNvSpPr/>
          <p:nvPr/>
        </p:nvSpPr>
        <p:spPr>
          <a:xfrm>
            <a:off x="8688572" y="1648188"/>
            <a:ext cx="1376876" cy="7621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FFFFFF"/>
                </a:solidFill>
                <a:effectLst/>
                <a:uLnTx/>
                <a:uFillTx/>
              </a:rPr>
              <a:t>SAVING POTENTIAL</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s-ES" sz="1451" b="1" i="0" u="none" strike="noStrike" kern="0" cap="none" spc="0" normalizeH="0" baseline="0" noProof="0" dirty="0">
                <a:ln>
                  <a:noFill/>
                </a:ln>
                <a:solidFill>
                  <a:srgbClr val="FFFFFF"/>
                </a:solidFill>
                <a:effectLst/>
                <a:uLnTx/>
                <a:uFillTx/>
              </a:rPr>
              <a:t>コスト削減</a:t>
            </a:r>
            <a:endParaRPr kumimoji="0" lang="en-GB" sz="1451" b="1" i="0" u="none" strike="noStrike" kern="0" cap="none" spc="0" normalizeH="0" baseline="0" noProof="0" dirty="0">
              <a:ln>
                <a:noFill/>
              </a:ln>
              <a:solidFill>
                <a:srgbClr val="FFFFFF"/>
              </a:solidFill>
              <a:effectLst/>
              <a:uLnTx/>
              <a:uFillTx/>
            </a:endParaRPr>
          </a:p>
        </p:txBody>
      </p:sp>
      <p:pic>
        <p:nvPicPr>
          <p:cNvPr id="35" name="Imagen 184"/>
          <p:cNvPicPr>
            <a:picLocks noChangeAspect="1"/>
          </p:cNvPicPr>
          <p:nvPr/>
        </p:nvPicPr>
        <p:blipFill>
          <a:blip r:embed="rId6"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0065448" y="1793886"/>
            <a:ext cx="502374" cy="502374"/>
          </a:xfrm>
          <a:prstGeom prst="rect">
            <a:avLst/>
          </a:prstGeom>
        </p:spPr>
      </p:pic>
      <p:sp>
        <p:nvSpPr>
          <p:cNvPr id="36" name="11 Rectángulo"/>
          <p:cNvSpPr/>
          <p:nvPr/>
        </p:nvSpPr>
        <p:spPr>
          <a:xfrm>
            <a:off x="8553520" y="3107576"/>
            <a:ext cx="2160000" cy="1440000"/>
          </a:xfrm>
          <a:prstGeom prst="rect">
            <a:avLst/>
          </a:prstGeom>
          <a:solidFill>
            <a:srgbClr val="C4E3DB"/>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37" name="33 Rectángulo"/>
          <p:cNvSpPr/>
          <p:nvPr/>
        </p:nvSpPr>
        <p:spPr>
          <a:xfrm>
            <a:off x="8599736" y="3893720"/>
            <a:ext cx="1440160" cy="507831"/>
          </a:xfrm>
          <a:prstGeom prst="rect">
            <a:avLst/>
          </a:prstGeom>
        </p:spPr>
        <p:txBody>
          <a:bodyPr wrap="square">
            <a:spAutoFit/>
          </a:bodyPr>
          <a:lstStyle/>
          <a:p>
            <a:endParaRPr lang="en-GB" sz="900" dirty="0">
              <a:solidFill>
                <a:srgbClr val="080808"/>
              </a:solidFill>
              <a:cs typeface="Calibri" pitchFamily="34" charset="0"/>
            </a:endParaRPr>
          </a:p>
          <a:p>
            <a:r>
              <a:rPr lang="ja-JP" altLang="es-ES" sz="900" dirty="0">
                <a:solidFill>
                  <a:srgbClr val="080808"/>
                </a:solidFill>
                <a:cs typeface="Calibri" pitchFamily="34" charset="0"/>
              </a:rPr>
              <a:t>ダッシュボードで</a:t>
            </a:r>
            <a:endParaRPr lang="es-ES" altLang="ja-JP" sz="900" dirty="0">
              <a:solidFill>
                <a:srgbClr val="080808"/>
              </a:solidFill>
              <a:cs typeface="Calibri" pitchFamily="34" charset="0"/>
            </a:endParaRPr>
          </a:p>
          <a:p>
            <a:r>
              <a:rPr lang="ja-JP" altLang="es-ES" sz="900" dirty="0">
                <a:solidFill>
                  <a:srgbClr val="080808"/>
                </a:solidFill>
                <a:cs typeface="Calibri" pitchFamily="34" charset="0"/>
              </a:rPr>
              <a:t>作業内容を管理可能</a:t>
            </a:r>
            <a:endParaRPr lang="en-GB" sz="900" dirty="0">
              <a:solidFill>
                <a:srgbClr val="080808"/>
              </a:solidFill>
              <a:cs typeface="Calibri" pitchFamily="34" charset="0"/>
            </a:endParaRPr>
          </a:p>
        </p:txBody>
      </p:sp>
      <p:sp>
        <p:nvSpPr>
          <p:cNvPr id="38" name="34 Rectángulo"/>
          <p:cNvSpPr/>
          <p:nvPr/>
        </p:nvSpPr>
        <p:spPr>
          <a:xfrm>
            <a:off x="8614536" y="3167649"/>
            <a:ext cx="1728192" cy="7621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080808"/>
                </a:solidFill>
                <a:effectLst/>
                <a:uLnTx/>
                <a:uFillTx/>
                <a:cs typeface="Calibri" pitchFamily="34" charset="0"/>
              </a:rPr>
              <a:t>CONTROL AND ANALYTICS</a:t>
            </a:r>
          </a:p>
          <a:p>
            <a:pPr marL="0" marR="0" lvl="0" indent="0" defTabSz="914400" eaLnBrk="1" fontAlgn="auto" latinLnBrk="0" hangingPunct="1">
              <a:lnSpc>
                <a:spcPct val="100000"/>
              </a:lnSpc>
              <a:spcBef>
                <a:spcPts val="0"/>
              </a:spcBef>
              <a:spcAft>
                <a:spcPts val="0"/>
              </a:spcAft>
              <a:buClrTx/>
              <a:buSzTx/>
              <a:buFontTx/>
              <a:buNone/>
              <a:tabLst/>
              <a:defRPr/>
            </a:pPr>
            <a:r>
              <a:rPr lang="ja-JP" altLang="es-ES" sz="1451" b="1" kern="0" dirty="0">
                <a:solidFill>
                  <a:srgbClr val="080808"/>
                </a:solidFill>
                <a:cs typeface="Calibri" pitchFamily="34" charset="0"/>
              </a:rPr>
              <a:t>管理・分析</a:t>
            </a:r>
            <a:r>
              <a:rPr kumimoji="0" lang="en-GB" sz="1451" b="1" i="0" u="none" strike="noStrike" kern="0" cap="none" spc="0" normalizeH="0" baseline="0" noProof="0" dirty="0">
                <a:ln>
                  <a:noFill/>
                </a:ln>
                <a:solidFill>
                  <a:srgbClr val="080808"/>
                </a:solidFill>
                <a:effectLst/>
                <a:uLnTx/>
                <a:uFillTx/>
                <a:cs typeface="Calibri" pitchFamily="34" charset="0"/>
              </a:rPr>
              <a:t> </a:t>
            </a:r>
            <a:endParaRPr kumimoji="0" lang="en-GB" sz="1451" b="1" i="0" u="none" strike="noStrike" kern="0" cap="none" spc="0" normalizeH="0" baseline="0" noProof="0" dirty="0">
              <a:ln>
                <a:noFill/>
              </a:ln>
              <a:solidFill>
                <a:srgbClr val="080808"/>
              </a:solidFill>
              <a:effectLst/>
              <a:uLnTx/>
              <a:uFillTx/>
            </a:endParaRPr>
          </a:p>
        </p:txBody>
      </p:sp>
      <p:pic>
        <p:nvPicPr>
          <p:cNvPr id="39" name="Imagen 186"/>
          <p:cNvPicPr>
            <a:picLocks noChangeAspect="1"/>
          </p:cNvPicPr>
          <p:nvPr/>
        </p:nvPicPr>
        <p:blipFill>
          <a:blip r:embed="rId7" cstate="print">
            <a:duotone>
              <a:prstClr val="black"/>
              <a:srgbClr val="205390">
                <a:tint val="45000"/>
                <a:satMod val="400000"/>
              </a:srgbClr>
            </a:duotone>
            <a:extLst>
              <a:ext uri="{28A0092B-C50C-407E-A947-70E740481C1C}">
                <a14:useLocalDpi xmlns:a14="http://schemas.microsoft.com/office/drawing/2010/main" val="0"/>
              </a:ext>
            </a:extLst>
          </a:blip>
          <a:stretch>
            <a:fillRect/>
          </a:stretch>
        </p:blipFill>
        <p:spPr>
          <a:xfrm>
            <a:off x="9849424" y="3851291"/>
            <a:ext cx="749996" cy="533201"/>
          </a:xfrm>
          <a:prstGeom prst="rect">
            <a:avLst/>
          </a:prstGeom>
        </p:spPr>
      </p:pic>
      <p:sp>
        <p:nvSpPr>
          <p:cNvPr id="40" name="11 Rectángulo"/>
          <p:cNvSpPr/>
          <p:nvPr/>
        </p:nvSpPr>
        <p:spPr>
          <a:xfrm>
            <a:off x="1494565" y="4611955"/>
            <a:ext cx="2578036" cy="1458298"/>
          </a:xfrm>
          <a:prstGeom prst="rect">
            <a:avLst/>
          </a:prstGeom>
          <a:solidFill>
            <a:srgbClr val="205390">
              <a:lumMod val="20000"/>
              <a:lumOff val="80000"/>
            </a:srgbClr>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41" name="33 Rectángulo"/>
          <p:cNvSpPr/>
          <p:nvPr/>
        </p:nvSpPr>
        <p:spPr>
          <a:xfrm>
            <a:off x="1650893" y="5495970"/>
            <a:ext cx="2290019" cy="507831"/>
          </a:xfrm>
          <a:prstGeom prst="rect">
            <a:avLst/>
          </a:prstGeom>
        </p:spPr>
        <p:txBody>
          <a:bodyPr wrap="square">
            <a:spAutoFit/>
          </a:bodyPr>
          <a:lstStyle/>
          <a:p>
            <a:r>
              <a:rPr lang="ja-JP" altLang="es-ES" sz="900" dirty="0">
                <a:solidFill>
                  <a:srgbClr val="205390"/>
                </a:solidFill>
                <a:cs typeface="Calibri" pitchFamily="34" charset="0"/>
              </a:rPr>
              <a:t>短期間で業務を自動化し</a:t>
            </a:r>
            <a:endParaRPr lang="es-ES" altLang="ja-JP" sz="900" dirty="0">
              <a:solidFill>
                <a:srgbClr val="205390"/>
              </a:solidFill>
              <a:cs typeface="Calibri" pitchFamily="34" charset="0"/>
            </a:endParaRPr>
          </a:p>
          <a:p>
            <a:r>
              <a:rPr lang="ja-JP" altLang="es-ES" sz="900" dirty="0">
                <a:solidFill>
                  <a:srgbClr val="205390"/>
                </a:solidFill>
                <a:cs typeface="Calibri" pitchFamily="34" charset="0"/>
              </a:rPr>
              <a:t>実運用での使用可能。</a:t>
            </a:r>
            <a:endParaRPr lang="es-ES" altLang="ja-JP" sz="900" dirty="0">
              <a:solidFill>
                <a:srgbClr val="205390"/>
              </a:solidFill>
              <a:cs typeface="Calibri" pitchFamily="34" charset="0"/>
            </a:endParaRPr>
          </a:p>
          <a:p>
            <a:r>
              <a:rPr lang="ja-JP" altLang="es-ES" sz="900" dirty="0">
                <a:solidFill>
                  <a:srgbClr val="205390"/>
                </a:solidFill>
                <a:cs typeface="Calibri" pitchFamily="34" charset="0"/>
              </a:rPr>
              <a:t>すばやい社内ニーズへの対応を実現</a:t>
            </a:r>
            <a:endParaRPr lang="en-GB" sz="900" dirty="0">
              <a:solidFill>
                <a:srgbClr val="205390"/>
              </a:solidFill>
              <a:cs typeface="Calibri" pitchFamily="34" charset="0"/>
            </a:endParaRPr>
          </a:p>
        </p:txBody>
      </p:sp>
      <p:sp>
        <p:nvSpPr>
          <p:cNvPr id="42" name="34 Rectángulo"/>
          <p:cNvSpPr/>
          <p:nvPr/>
        </p:nvSpPr>
        <p:spPr>
          <a:xfrm>
            <a:off x="1614832" y="4846245"/>
            <a:ext cx="1755673" cy="5388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205390"/>
                </a:solidFill>
                <a:effectLst/>
                <a:uLnTx/>
                <a:uFillTx/>
                <a:cs typeface="Calibri" pitchFamily="34" charset="0"/>
              </a:rPr>
              <a:t>AGILITY</a:t>
            </a:r>
            <a:endParaRPr lang="en-GB" sz="1451" b="1" kern="0" dirty="0">
              <a:solidFill>
                <a:srgbClr val="205390"/>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s-ES" sz="1451" b="1" i="0" u="none" strike="noStrike" kern="0" cap="none" spc="0" normalizeH="0" baseline="0" noProof="0" dirty="0">
                <a:ln>
                  <a:noFill/>
                </a:ln>
                <a:solidFill>
                  <a:srgbClr val="205390"/>
                </a:solidFill>
                <a:effectLst/>
                <a:uLnTx/>
                <a:uFillTx/>
                <a:cs typeface="Calibri" pitchFamily="34" charset="0"/>
              </a:rPr>
              <a:t>機敏さ</a:t>
            </a:r>
            <a:endParaRPr kumimoji="0" lang="en-GB" sz="1451" b="1" i="0" u="none" strike="noStrike" kern="0" cap="none" spc="0" normalizeH="0" baseline="0" noProof="0" dirty="0">
              <a:ln>
                <a:noFill/>
              </a:ln>
              <a:solidFill>
                <a:srgbClr val="205390"/>
              </a:solidFill>
              <a:effectLst/>
              <a:uLnTx/>
              <a:uFillTx/>
              <a:cs typeface="Calibri" pitchFamily="34" charset="0"/>
            </a:endParaRPr>
          </a:p>
        </p:txBody>
      </p:sp>
      <p:grpSp>
        <p:nvGrpSpPr>
          <p:cNvPr id="43" name="Grupo 42"/>
          <p:cNvGrpSpPr/>
          <p:nvPr/>
        </p:nvGrpSpPr>
        <p:grpSpPr>
          <a:xfrm>
            <a:off x="8547330" y="4615061"/>
            <a:ext cx="2277448" cy="1440000"/>
            <a:chOff x="6324087" y="4613336"/>
            <a:chExt cx="2277448" cy="1440000"/>
          </a:xfrm>
        </p:grpSpPr>
        <p:sp>
          <p:nvSpPr>
            <p:cNvPr id="44" name="15 Rectángulo"/>
            <p:cNvSpPr/>
            <p:nvPr/>
          </p:nvSpPr>
          <p:spPr>
            <a:xfrm>
              <a:off x="6330277" y="4613336"/>
              <a:ext cx="2160000" cy="1440000"/>
            </a:xfrm>
            <a:prstGeom prst="rect">
              <a:avLst/>
            </a:prstGeom>
            <a:solidFill>
              <a:srgbClr val="205390"/>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45" name="39 Rectángulo"/>
            <p:cNvSpPr/>
            <p:nvPr/>
          </p:nvSpPr>
          <p:spPr>
            <a:xfrm>
              <a:off x="6334096" y="5699462"/>
              <a:ext cx="2091133" cy="25975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88" i="0" u="none" strike="noStrike" kern="0" cap="none" spc="0" normalizeH="0" baseline="0" noProof="0" dirty="0">
                  <a:ln>
                    <a:noFill/>
                  </a:ln>
                  <a:solidFill>
                    <a:srgbClr val="FFFFFF"/>
                  </a:solidFill>
                  <a:effectLst/>
                  <a:uLnTx/>
                  <a:uFillTx/>
                  <a:cs typeface="Calibri" pitchFamily="34" charset="0"/>
                </a:rPr>
                <a:t>100</a:t>
              </a:r>
              <a:r>
                <a:rPr kumimoji="0" lang="es-ES" altLang="ja-JP" sz="1088" i="0" u="none" strike="noStrike" kern="0" cap="none" spc="0" normalizeH="0" baseline="0" noProof="0" dirty="0">
                  <a:ln>
                    <a:noFill/>
                  </a:ln>
                  <a:solidFill>
                    <a:srgbClr val="FFFFFF"/>
                  </a:solidFill>
                  <a:effectLst/>
                  <a:uLnTx/>
                  <a:uFillTx/>
                  <a:cs typeface="Calibri" pitchFamily="34" charset="0"/>
                </a:rPr>
                <a:t>%</a:t>
              </a:r>
              <a:r>
                <a:rPr kumimoji="0" lang="ja-JP" altLang="es-ES" sz="1088" i="0" u="none" strike="noStrike" kern="0" cap="none" spc="0" normalizeH="0" baseline="0" noProof="0" dirty="0">
                  <a:ln>
                    <a:noFill/>
                  </a:ln>
                  <a:solidFill>
                    <a:srgbClr val="FFFFFF"/>
                  </a:solidFill>
                  <a:effectLst/>
                  <a:uLnTx/>
                  <a:uFillTx/>
                  <a:cs typeface="Calibri" pitchFamily="34" charset="0"/>
                </a:rPr>
                <a:t>の精度および素早い応答</a:t>
              </a:r>
              <a:endParaRPr kumimoji="0" lang="en-GB" sz="900" i="0" u="none" strike="noStrike" kern="0" cap="none" spc="0" normalizeH="0" baseline="0" noProof="0" dirty="0">
                <a:ln>
                  <a:noFill/>
                </a:ln>
                <a:solidFill>
                  <a:srgbClr val="FFFFFF"/>
                </a:solidFill>
                <a:effectLst/>
                <a:uLnTx/>
                <a:uFillTx/>
                <a:cs typeface="Calibri" pitchFamily="34" charset="0"/>
              </a:endParaRPr>
            </a:p>
          </p:txBody>
        </p:sp>
        <p:sp>
          <p:nvSpPr>
            <p:cNvPr id="46" name="40 Rectángulo"/>
            <p:cNvSpPr/>
            <p:nvPr/>
          </p:nvSpPr>
          <p:spPr>
            <a:xfrm>
              <a:off x="6324087" y="4663700"/>
              <a:ext cx="2277448" cy="98539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FFFFFF"/>
                  </a:solidFill>
                  <a:effectLst/>
                  <a:uLnTx/>
                  <a:uFillTx/>
                </a:rPr>
                <a:t>BETT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FFFFFF"/>
                  </a:solidFill>
                  <a:effectLst/>
                  <a:uLnTx/>
                  <a:uFillTx/>
                </a:rPr>
                <a:t>CONSUMER EXPERIENCE</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s-ES" sz="1451" b="1" i="0" u="none" strike="noStrike" kern="0" cap="none" spc="0" normalizeH="0" baseline="0" noProof="0" dirty="0">
                  <a:ln>
                    <a:noFill/>
                  </a:ln>
                  <a:solidFill>
                    <a:srgbClr val="FFFFFF"/>
                  </a:solidFill>
                  <a:effectLst/>
                  <a:uLnTx/>
                  <a:uFillTx/>
                </a:rPr>
                <a:t>社内外の顧客満足度向上</a:t>
              </a:r>
              <a:endParaRPr kumimoji="0" lang="en-GB" sz="1451" b="1" i="0" u="none" strike="noStrike" kern="0" cap="none" spc="0" normalizeH="0" baseline="0" noProof="0" dirty="0">
                <a:ln>
                  <a:noFill/>
                </a:ln>
                <a:solidFill>
                  <a:srgbClr val="FFFFFF"/>
                </a:solidFill>
                <a:effectLst/>
                <a:uLnTx/>
                <a:uFillTx/>
              </a:endParaRPr>
            </a:p>
          </p:txBody>
        </p:sp>
        <p:pic>
          <p:nvPicPr>
            <p:cNvPr id="47" name="Imagen 187"/>
            <p:cNvPicPr>
              <a:picLocks noChangeAspect="1"/>
            </p:cNvPicPr>
            <p:nvPr/>
          </p:nvPicPr>
          <p:blipFill rotWithShape="1">
            <a:blip r:embed="rId8"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l="70262" t="65750"/>
            <a:stretch/>
          </p:blipFill>
          <p:spPr>
            <a:xfrm>
              <a:off x="7807725" y="4672524"/>
              <a:ext cx="591228" cy="611714"/>
            </a:xfrm>
            <a:prstGeom prst="rect">
              <a:avLst/>
            </a:prstGeom>
            <a:ln>
              <a:noFill/>
            </a:ln>
          </p:spPr>
        </p:pic>
      </p:grpSp>
      <p:sp>
        <p:nvSpPr>
          <p:cNvPr id="48" name="16 Rectángulo"/>
          <p:cNvSpPr/>
          <p:nvPr/>
        </p:nvSpPr>
        <p:spPr>
          <a:xfrm>
            <a:off x="6345413" y="1582703"/>
            <a:ext cx="2160000" cy="1440000"/>
          </a:xfrm>
          <a:prstGeom prst="rect">
            <a:avLst/>
          </a:prstGeom>
          <a:solidFill>
            <a:srgbClr val="FFFFFF">
              <a:lumMod val="95000"/>
            </a:srgbClr>
          </a:solidFill>
          <a:ln w="9525" cap="flat" cmpd="sng" algn="ctr">
            <a:solidFill>
              <a:srgbClr val="FFFFFF"/>
            </a:solidFill>
            <a:prstDash val="solid"/>
          </a:ln>
          <a:effectLst/>
        </p:spPr>
        <p:txBody>
          <a:bodyPr rtlCol="0" anchor="ctr"/>
          <a:lstStyle/>
          <a:p>
            <a:pPr marL="0" marR="0" lvl="0" indent="0" algn="ctr" defTabSz="829178"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49" name="39 Rectángulo"/>
          <p:cNvSpPr/>
          <p:nvPr/>
        </p:nvSpPr>
        <p:spPr>
          <a:xfrm>
            <a:off x="6424623" y="2296260"/>
            <a:ext cx="1856412" cy="646331"/>
          </a:xfrm>
          <a:prstGeom prst="rect">
            <a:avLst/>
          </a:prstGeom>
        </p:spPr>
        <p:txBody>
          <a:bodyPr wrap="square">
            <a:spAutoFit/>
          </a:bodyPr>
          <a:lstStyle/>
          <a:p>
            <a:pPr>
              <a:defRPr/>
            </a:pPr>
            <a:r>
              <a:rPr lang="es-ES" altLang="ja-JP" sz="900" kern="0" dirty="0">
                <a:solidFill>
                  <a:srgbClr val="080808"/>
                </a:solidFill>
                <a:cs typeface="Calibri" pitchFamily="34" charset="0"/>
              </a:rPr>
              <a:t>365</a:t>
            </a:r>
            <a:r>
              <a:rPr lang="ja-JP" altLang="es-ES" sz="900" kern="0" dirty="0">
                <a:solidFill>
                  <a:srgbClr val="080808"/>
                </a:solidFill>
                <a:cs typeface="Calibri" pitchFamily="34" charset="0"/>
              </a:rPr>
              <a:t>日休まず稼働</a:t>
            </a:r>
            <a:endParaRPr lang="es-ES" altLang="ja-JP" sz="900" kern="0" dirty="0">
              <a:solidFill>
                <a:srgbClr val="080808"/>
              </a:solidFill>
              <a:cs typeface="Calibri" pitchFamily="34" charset="0"/>
            </a:endParaRPr>
          </a:p>
          <a:p>
            <a:pPr>
              <a:defRPr/>
            </a:pPr>
            <a:endParaRPr lang="es-ES" sz="900" kern="0" dirty="0">
              <a:solidFill>
                <a:srgbClr val="080808"/>
              </a:solidFill>
              <a:cs typeface="Calibri" pitchFamily="34" charset="0"/>
            </a:endParaRPr>
          </a:p>
          <a:p>
            <a:pPr>
              <a:defRPr/>
            </a:pPr>
            <a:r>
              <a:rPr lang="ja-JP" altLang="es-ES" sz="900" kern="0" dirty="0">
                <a:solidFill>
                  <a:srgbClr val="080808"/>
                </a:solidFill>
                <a:cs typeface="Calibri" pitchFamily="34" charset="0"/>
              </a:rPr>
              <a:t>出勤時間前（深夜）にタスクを</a:t>
            </a:r>
            <a:endParaRPr lang="es-ES" altLang="ja-JP" sz="900" kern="0" dirty="0">
              <a:solidFill>
                <a:srgbClr val="080808"/>
              </a:solidFill>
              <a:cs typeface="Calibri" pitchFamily="34" charset="0"/>
            </a:endParaRPr>
          </a:p>
          <a:p>
            <a:pPr>
              <a:defRPr/>
            </a:pPr>
            <a:r>
              <a:rPr lang="ja-JP" altLang="es-ES" sz="900" kern="0" dirty="0">
                <a:solidFill>
                  <a:srgbClr val="080808"/>
                </a:solidFill>
                <a:cs typeface="Calibri" pitchFamily="34" charset="0"/>
              </a:rPr>
              <a:t>完了させておくことも可能</a:t>
            </a:r>
            <a:endParaRPr lang="en-GB" sz="900" kern="0" dirty="0">
              <a:solidFill>
                <a:srgbClr val="080808"/>
              </a:solidFill>
              <a:cs typeface="Calibri" pitchFamily="34" charset="0"/>
            </a:endParaRPr>
          </a:p>
        </p:txBody>
      </p:sp>
      <p:sp>
        <p:nvSpPr>
          <p:cNvPr id="50" name="40 Rectángulo"/>
          <p:cNvSpPr/>
          <p:nvPr/>
        </p:nvSpPr>
        <p:spPr>
          <a:xfrm>
            <a:off x="6349220" y="1661822"/>
            <a:ext cx="1734295" cy="538865"/>
          </a:xfrm>
          <a:prstGeom prst="rect">
            <a:avLst/>
          </a:prstGeom>
        </p:spPr>
        <p:txBody>
          <a:bodyPr wrap="square">
            <a:spAutoFit/>
          </a:bodyPr>
          <a:lstStyle/>
          <a:p>
            <a:pPr marL="0" marR="0" lvl="0" indent="0" defTabSz="829178"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080808"/>
                </a:solidFill>
                <a:effectLst/>
                <a:uLnTx/>
                <a:uFillTx/>
              </a:rPr>
              <a:t>RELIABILITY</a:t>
            </a:r>
          </a:p>
          <a:p>
            <a:pPr marL="0" marR="0" lvl="0" indent="0" defTabSz="829178" eaLnBrk="1" fontAlgn="auto" latinLnBrk="0" hangingPunct="1">
              <a:lnSpc>
                <a:spcPct val="100000"/>
              </a:lnSpc>
              <a:spcBef>
                <a:spcPts val="0"/>
              </a:spcBef>
              <a:spcAft>
                <a:spcPts val="0"/>
              </a:spcAft>
              <a:buClrTx/>
              <a:buSzTx/>
              <a:buFontTx/>
              <a:buNone/>
              <a:tabLst/>
              <a:defRPr/>
            </a:pPr>
            <a:r>
              <a:rPr lang="ja-JP" altLang="es-ES" sz="1451" b="1" kern="0" dirty="0">
                <a:solidFill>
                  <a:srgbClr val="080808"/>
                </a:solidFill>
              </a:rPr>
              <a:t>信頼性・確実性</a:t>
            </a:r>
            <a:endParaRPr kumimoji="0" lang="en-GB" sz="1451" b="1" i="0" u="none" strike="noStrike" kern="0" cap="none" spc="0" normalizeH="0" baseline="0" noProof="0" dirty="0">
              <a:ln>
                <a:noFill/>
              </a:ln>
              <a:solidFill>
                <a:srgbClr val="080808"/>
              </a:solidFill>
              <a:effectLst/>
              <a:uLnTx/>
              <a:uFillTx/>
            </a:endParaRPr>
          </a:p>
        </p:txBody>
      </p:sp>
      <p:pic>
        <p:nvPicPr>
          <p:cNvPr id="51" name="Imagen 189"/>
          <p:cNvPicPr>
            <a:picLocks noChangeAspect="1"/>
          </p:cNvPicPr>
          <p:nvPr/>
        </p:nvPicPr>
        <p:blipFill>
          <a:blip r:embed="rId9" cstate="print">
            <a:clrChange>
              <a:clrFrom>
                <a:srgbClr val="FFFFFF"/>
              </a:clrFrom>
              <a:clrTo>
                <a:srgbClr val="FFFFFF">
                  <a:alpha val="0"/>
                </a:srgbClr>
              </a:clrTo>
            </a:clrChange>
            <a:duotone>
              <a:srgbClr val="960F68">
                <a:shade val="45000"/>
                <a:satMod val="135000"/>
              </a:srgbClr>
              <a:prstClr val="white"/>
            </a:duotone>
            <a:extLst>
              <a:ext uri="{28A0092B-C50C-407E-A947-70E740481C1C}">
                <a14:useLocalDpi xmlns:a14="http://schemas.microsoft.com/office/drawing/2010/main" val="0"/>
              </a:ext>
            </a:extLst>
          </a:blip>
          <a:stretch>
            <a:fillRect/>
          </a:stretch>
        </p:blipFill>
        <p:spPr>
          <a:xfrm>
            <a:off x="7764423" y="1864212"/>
            <a:ext cx="644841" cy="630637"/>
          </a:xfrm>
          <a:prstGeom prst="rect">
            <a:avLst/>
          </a:prstGeom>
        </p:spPr>
      </p:pic>
      <p:sp>
        <p:nvSpPr>
          <p:cNvPr id="52" name="13 Rectángulo"/>
          <p:cNvSpPr/>
          <p:nvPr/>
        </p:nvSpPr>
        <p:spPr>
          <a:xfrm>
            <a:off x="4107034" y="1576180"/>
            <a:ext cx="2160000" cy="1440000"/>
          </a:xfrm>
          <a:prstGeom prst="rect">
            <a:avLst/>
          </a:prstGeom>
          <a:solidFill>
            <a:srgbClr val="C4E3DB"/>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solidFill>
              <a:effectLst/>
              <a:uLnTx/>
              <a:uFillTx/>
            </a:endParaRPr>
          </a:p>
        </p:txBody>
      </p:sp>
      <p:sp>
        <p:nvSpPr>
          <p:cNvPr id="53" name="30 Rectángulo"/>
          <p:cNvSpPr/>
          <p:nvPr/>
        </p:nvSpPr>
        <p:spPr>
          <a:xfrm>
            <a:off x="4838261" y="2359212"/>
            <a:ext cx="1494003" cy="677108"/>
          </a:xfrm>
          <a:prstGeom prst="rect">
            <a:avLst/>
          </a:prstGeom>
        </p:spPr>
        <p:txBody>
          <a:bodyPr wrap="square">
            <a:spAutoFit/>
          </a:bodyPr>
          <a:lstStyle/>
          <a:p>
            <a:r>
              <a:rPr lang="ja-JP" altLang="es-ES" sz="900" dirty="0">
                <a:solidFill>
                  <a:srgbClr val="080808"/>
                </a:solidFill>
                <a:cs typeface="Calibri" pitchFamily="34" charset="0"/>
              </a:rPr>
              <a:t>シンプルな導入で、</a:t>
            </a:r>
            <a:endParaRPr lang="es-ES" altLang="ja-JP" sz="900" dirty="0">
              <a:solidFill>
                <a:srgbClr val="080808"/>
              </a:solidFill>
              <a:cs typeface="Calibri" pitchFamily="34" charset="0"/>
            </a:endParaRPr>
          </a:p>
          <a:p>
            <a:r>
              <a:rPr lang="ja-JP" altLang="es-ES" sz="900" dirty="0">
                <a:solidFill>
                  <a:srgbClr val="080808"/>
                </a:solidFill>
                <a:cs typeface="Calibri" pitchFamily="34" charset="0"/>
              </a:rPr>
              <a:t>簡単に始めることが可能</a:t>
            </a:r>
            <a:endParaRPr lang="es-ES" altLang="ja-JP" sz="900" dirty="0">
              <a:solidFill>
                <a:srgbClr val="080808"/>
              </a:solidFill>
              <a:cs typeface="Calibri" pitchFamily="34" charset="0"/>
            </a:endParaRPr>
          </a:p>
          <a:p>
            <a:endParaRPr lang="es-ES" altLang="ja-JP" sz="200" dirty="0">
              <a:solidFill>
                <a:srgbClr val="080808"/>
              </a:solidFill>
              <a:cs typeface="Calibri" pitchFamily="34" charset="0"/>
            </a:endParaRPr>
          </a:p>
          <a:p>
            <a:r>
              <a:rPr lang="es-ES" altLang="ja-JP" sz="900" dirty="0">
                <a:solidFill>
                  <a:srgbClr val="080808"/>
                </a:solidFill>
                <a:cs typeface="Calibri" pitchFamily="34" charset="0"/>
              </a:rPr>
              <a:t>1</a:t>
            </a:r>
            <a:r>
              <a:rPr lang="ja-JP" altLang="es-ES" sz="900" dirty="0">
                <a:solidFill>
                  <a:srgbClr val="080808"/>
                </a:solidFill>
                <a:cs typeface="Calibri" pitchFamily="34" charset="0"/>
              </a:rPr>
              <a:t>つの業務からでも</a:t>
            </a:r>
            <a:endParaRPr lang="es-ES" altLang="ja-JP" sz="900" dirty="0">
              <a:solidFill>
                <a:srgbClr val="080808"/>
              </a:solidFill>
              <a:cs typeface="Calibri" pitchFamily="34" charset="0"/>
            </a:endParaRPr>
          </a:p>
          <a:p>
            <a:r>
              <a:rPr lang="ja-JP" altLang="es-ES" sz="900" dirty="0">
                <a:solidFill>
                  <a:srgbClr val="080808"/>
                </a:solidFill>
                <a:cs typeface="Calibri" pitchFamily="34" charset="0"/>
              </a:rPr>
              <a:t>開始可能</a:t>
            </a:r>
            <a:endParaRPr lang="en-GB" sz="900" dirty="0">
              <a:solidFill>
                <a:srgbClr val="080808"/>
              </a:solidFill>
              <a:cs typeface="Calibri" pitchFamily="34" charset="0"/>
            </a:endParaRPr>
          </a:p>
        </p:txBody>
      </p:sp>
      <p:sp>
        <p:nvSpPr>
          <p:cNvPr id="54" name="31 Rectángulo"/>
          <p:cNvSpPr/>
          <p:nvPr/>
        </p:nvSpPr>
        <p:spPr>
          <a:xfrm>
            <a:off x="4170417" y="1648188"/>
            <a:ext cx="2144244" cy="7621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080808"/>
                </a:solidFill>
                <a:effectLst/>
                <a:uLnTx/>
                <a:uFillTx/>
              </a:rPr>
              <a:t>SCALABILITY &amp; FLEXIBILITY</a:t>
            </a:r>
          </a:p>
          <a:p>
            <a:pPr marL="0" marR="0" lvl="0" indent="0" defTabSz="914400" eaLnBrk="1" fontAlgn="auto" latinLnBrk="0" hangingPunct="1">
              <a:lnSpc>
                <a:spcPct val="100000"/>
              </a:lnSpc>
              <a:spcBef>
                <a:spcPts val="0"/>
              </a:spcBef>
              <a:spcAft>
                <a:spcPts val="0"/>
              </a:spcAft>
              <a:buClrTx/>
              <a:buSzTx/>
              <a:buFontTx/>
              <a:buNone/>
              <a:tabLst/>
              <a:defRPr/>
            </a:pPr>
            <a:r>
              <a:rPr lang="ja-JP" altLang="es-ES" sz="1451" b="1" kern="0" dirty="0">
                <a:solidFill>
                  <a:srgbClr val="080808"/>
                </a:solidFill>
              </a:rPr>
              <a:t>拡張性および柔軟性</a:t>
            </a:r>
            <a:endParaRPr kumimoji="0" lang="en-GB" sz="1451" b="1" i="0" u="none" strike="noStrike" kern="0" cap="none" spc="0" normalizeH="0" baseline="0" noProof="0" dirty="0">
              <a:ln>
                <a:noFill/>
              </a:ln>
              <a:solidFill>
                <a:srgbClr val="080808"/>
              </a:solidFill>
              <a:effectLst/>
              <a:uLnTx/>
              <a:uFillTx/>
            </a:endParaRPr>
          </a:p>
        </p:txBody>
      </p:sp>
      <p:pic>
        <p:nvPicPr>
          <p:cNvPr id="55" name="Imagen 190"/>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23625" y="2387587"/>
            <a:ext cx="596182" cy="596182"/>
          </a:xfrm>
          <a:prstGeom prst="rect">
            <a:avLst/>
          </a:prstGeom>
        </p:spPr>
      </p:pic>
      <p:pic>
        <p:nvPicPr>
          <p:cNvPr id="56" name="Picture 13"/>
          <p:cNvPicPr>
            <a:picLocks noChangeAspect="1"/>
          </p:cNvPicPr>
          <p:nvPr/>
        </p:nvPicPr>
        <p:blipFill>
          <a:blip r:embed="rId11">
            <a:lum bright="70000" contrast="-70000"/>
          </a:blip>
          <a:stretch>
            <a:fillRect/>
          </a:stretch>
        </p:blipFill>
        <p:spPr>
          <a:xfrm>
            <a:off x="7689184" y="3221613"/>
            <a:ext cx="652175" cy="652175"/>
          </a:xfrm>
          <a:prstGeom prst="rect">
            <a:avLst/>
          </a:prstGeom>
        </p:spPr>
      </p:pic>
      <p:pic>
        <p:nvPicPr>
          <p:cNvPr id="57" name="Picture 14"/>
          <p:cNvPicPr>
            <a:picLocks noChangeAspect="1"/>
          </p:cNvPicPr>
          <p:nvPr/>
        </p:nvPicPr>
        <p:blipFill>
          <a:blip r:embed="rId12">
            <a:duotone>
              <a:srgbClr val="960F68">
                <a:shade val="45000"/>
                <a:satMod val="135000"/>
              </a:srgbClr>
              <a:prstClr val="white"/>
            </a:duotone>
          </a:blip>
          <a:stretch>
            <a:fillRect/>
          </a:stretch>
        </p:blipFill>
        <p:spPr>
          <a:xfrm>
            <a:off x="5709767" y="5453796"/>
            <a:ext cx="583146" cy="583146"/>
          </a:xfrm>
          <a:prstGeom prst="rect">
            <a:avLst/>
          </a:prstGeom>
        </p:spPr>
      </p:pic>
      <p:grpSp>
        <p:nvGrpSpPr>
          <p:cNvPr id="58" name="Grupo 57"/>
          <p:cNvGrpSpPr/>
          <p:nvPr/>
        </p:nvGrpSpPr>
        <p:grpSpPr>
          <a:xfrm>
            <a:off x="6345126" y="4622667"/>
            <a:ext cx="2160000" cy="1440000"/>
            <a:chOff x="8553520" y="4613336"/>
            <a:chExt cx="2160000" cy="1440000"/>
          </a:xfrm>
        </p:grpSpPr>
        <p:sp>
          <p:nvSpPr>
            <p:cNvPr id="59" name="11 Rectángulo"/>
            <p:cNvSpPr/>
            <p:nvPr/>
          </p:nvSpPr>
          <p:spPr>
            <a:xfrm>
              <a:off x="8553520" y="4613336"/>
              <a:ext cx="2160000" cy="1440000"/>
            </a:xfrm>
            <a:prstGeom prst="rect">
              <a:avLst/>
            </a:prstGeom>
            <a:solidFill>
              <a:srgbClr val="205390">
                <a:lumMod val="20000"/>
                <a:lumOff val="80000"/>
              </a:srgb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51" b="0" i="0" u="none" strike="noStrike" kern="0" cap="none" spc="0" normalizeH="0" baseline="0" noProof="0" dirty="0">
                <a:ln>
                  <a:noFill/>
                </a:ln>
                <a:solidFill>
                  <a:srgbClr val="000000">
                    <a:lumMod val="85000"/>
                    <a:lumOff val="15000"/>
                  </a:srgbClr>
                </a:solidFill>
                <a:effectLst/>
                <a:uLnTx/>
                <a:uFillTx/>
              </a:endParaRPr>
            </a:p>
          </p:txBody>
        </p:sp>
        <p:sp>
          <p:nvSpPr>
            <p:cNvPr id="60" name="25 Rectángulo"/>
            <p:cNvSpPr/>
            <p:nvPr/>
          </p:nvSpPr>
          <p:spPr>
            <a:xfrm>
              <a:off x="8670416" y="4706740"/>
              <a:ext cx="1899088" cy="5388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51" b="1" i="0" u="none" strike="noStrike" kern="0" cap="none" spc="0" normalizeH="0" baseline="0" noProof="0" dirty="0">
                  <a:ln>
                    <a:noFill/>
                  </a:ln>
                  <a:solidFill>
                    <a:srgbClr val="000000">
                      <a:lumMod val="85000"/>
                      <a:lumOff val="15000"/>
                    </a:srgbClr>
                  </a:solidFill>
                  <a:effectLst/>
                  <a:uLnTx/>
                  <a:uFillTx/>
                </a:rPr>
                <a:t>BETTER SERVICE</a:t>
              </a:r>
            </a:p>
            <a:p>
              <a:pPr marL="0" marR="0" lvl="0" indent="0" defTabSz="914400" eaLnBrk="1" fontAlgn="auto" latinLnBrk="0" hangingPunct="1">
                <a:lnSpc>
                  <a:spcPct val="100000"/>
                </a:lnSpc>
                <a:spcBef>
                  <a:spcPts val="0"/>
                </a:spcBef>
                <a:spcAft>
                  <a:spcPts val="0"/>
                </a:spcAft>
                <a:buClrTx/>
                <a:buSzTx/>
                <a:buFontTx/>
                <a:buNone/>
                <a:tabLst/>
                <a:defRPr/>
              </a:pPr>
              <a:r>
                <a:rPr lang="ja-JP" altLang="es-ES" sz="1451" b="1" kern="0" noProof="0" dirty="0">
                  <a:solidFill>
                    <a:srgbClr val="000000">
                      <a:lumMod val="85000"/>
                      <a:lumOff val="15000"/>
                    </a:srgbClr>
                  </a:solidFill>
                </a:rPr>
                <a:t>品質向上</a:t>
              </a:r>
              <a:endParaRPr kumimoji="0" lang="en-GB" sz="1451" b="1" i="0" u="none" strike="noStrike" kern="0" cap="none" spc="0" normalizeH="0" baseline="0" noProof="0" dirty="0">
                <a:ln>
                  <a:noFill/>
                </a:ln>
                <a:solidFill>
                  <a:srgbClr val="000000">
                    <a:lumMod val="85000"/>
                    <a:lumOff val="15000"/>
                  </a:srgbClr>
                </a:solidFill>
                <a:effectLst/>
                <a:uLnTx/>
                <a:uFillTx/>
              </a:endParaRPr>
            </a:p>
          </p:txBody>
        </p:sp>
        <p:sp>
          <p:nvSpPr>
            <p:cNvPr id="61" name="39 Rectángulo"/>
            <p:cNvSpPr/>
            <p:nvPr/>
          </p:nvSpPr>
          <p:spPr>
            <a:xfrm>
              <a:off x="8671161" y="5375779"/>
              <a:ext cx="1832146" cy="507831"/>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kumimoji="0" lang="ja-JP" altLang="es-ES" sz="900" b="0" i="0" u="none" strike="noStrike" kern="0" cap="none" spc="0" normalizeH="0" baseline="0" noProof="0" dirty="0">
                  <a:ln>
                    <a:noFill/>
                  </a:ln>
                  <a:solidFill>
                    <a:srgbClr val="000000">
                      <a:lumMod val="85000"/>
                      <a:lumOff val="15000"/>
                    </a:srgbClr>
                  </a:solidFill>
                  <a:effectLst/>
                  <a:uLnTx/>
                  <a:uFillTx/>
                  <a:cs typeface="Calibri" pitchFamily="34" charset="0"/>
                </a:rPr>
                <a:t>マニュアル作業を最低限にし、漏れ・重複やミスを撲滅。</a:t>
              </a:r>
              <a:endParaRPr kumimoji="0" lang="es-ES" altLang="ja-JP" sz="900" b="0" i="0" u="none" strike="noStrike" kern="0" cap="none" spc="0" normalizeH="0" baseline="0" noProof="0" dirty="0">
                <a:ln>
                  <a:noFill/>
                </a:ln>
                <a:solidFill>
                  <a:srgbClr val="000000">
                    <a:lumMod val="85000"/>
                    <a:lumOff val="15000"/>
                  </a:srgbClr>
                </a:solidFill>
                <a:effectLst/>
                <a:uLnTx/>
                <a:uFillTx/>
                <a:cs typeface="Calibri" pitchFamily="34" charset="0"/>
              </a:endParaRPr>
            </a:p>
            <a:p>
              <a:pPr marR="0" lvl="0" defTabSz="914400" eaLnBrk="1" fontAlgn="auto" latinLnBrk="0" hangingPunct="1">
                <a:lnSpc>
                  <a:spcPct val="100000"/>
                </a:lnSpc>
                <a:spcBef>
                  <a:spcPts val="0"/>
                </a:spcBef>
                <a:spcAft>
                  <a:spcPts val="0"/>
                </a:spcAft>
                <a:buClrTx/>
                <a:buSzTx/>
                <a:tabLst/>
                <a:defRPr/>
              </a:pPr>
              <a:r>
                <a:rPr kumimoji="0" lang="ja-JP" altLang="es-ES" sz="900" b="0" i="0" u="none" strike="noStrike" kern="0" cap="none" spc="0" normalizeH="0" baseline="0" noProof="0" dirty="0">
                  <a:ln>
                    <a:noFill/>
                  </a:ln>
                  <a:solidFill>
                    <a:srgbClr val="000000">
                      <a:lumMod val="85000"/>
                      <a:lumOff val="15000"/>
                    </a:srgbClr>
                  </a:solidFill>
                  <a:effectLst/>
                  <a:uLnTx/>
                  <a:uFillTx/>
                  <a:cs typeface="Calibri" pitchFamily="34" charset="0"/>
                </a:rPr>
                <a:t>業務品質の向上</a:t>
              </a:r>
              <a:endParaRPr kumimoji="0" lang="en-GB" sz="900" b="0" i="0" u="none" strike="noStrike" kern="0" cap="none" spc="0" normalizeH="0" baseline="0" noProof="0" dirty="0">
                <a:ln>
                  <a:noFill/>
                </a:ln>
                <a:solidFill>
                  <a:srgbClr val="000000">
                    <a:lumMod val="85000"/>
                    <a:lumOff val="15000"/>
                  </a:srgbClr>
                </a:solidFill>
                <a:effectLst/>
                <a:uLnTx/>
                <a:uFillTx/>
                <a:cs typeface="Calibri" pitchFamily="34" charset="0"/>
              </a:endParaRPr>
            </a:p>
          </p:txBody>
        </p:sp>
        <p:pic>
          <p:nvPicPr>
            <p:cNvPr id="62" name="Picture 15"/>
            <p:cNvPicPr>
              <a:picLocks noChangeAspect="1"/>
            </p:cNvPicPr>
            <p:nvPr/>
          </p:nvPicPr>
          <p:blipFill>
            <a:blip r:embed="rId13">
              <a:biLevel thresh="25000"/>
            </a:blip>
            <a:stretch>
              <a:fillRect/>
            </a:stretch>
          </p:blipFill>
          <p:spPr>
            <a:xfrm>
              <a:off x="10180064" y="5486639"/>
              <a:ext cx="446548" cy="446548"/>
            </a:xfrm>
            <a:prstGeom prst="rect">
              <a:avLst/>
            </a:prstGeom>
          </p:spPr>
        </p:pic>
      </p:grpSp>
      <p:pic>
        <p:nvPicPr>
          <p:cNvPr id="63" name="Picture 16"/>
          <p:cNvPicPr>
            <a:picLocks noChangeAspect="1"/>
          </p:cNvPicPr>
          <p:nvPr/>
        </p:nvPicPr>
        <p:blipFill>
          <a:blip r:embed="rId14">
            <a:duotone>
              <a:srgbClr val="205390">
                <a:shade val="45000"/>
                <a:satMod val="135000"/>
              </a:srgbClr>
              <a:prstClr val="white"/>
            </a:duotone>
          </a:blip>
          <a:stretch>
            <a:fillRect/>
          </a:stretch>
        </p:blipFill>
        <p:spPr>
          <a:xfrm flipH="1">
            <a:off x="2960434" y="4878671"/>
            <a:ext cx="912326" cy="801965"/>
          </a:xfrm>
          <a:prstGeom prst="rect">
            <a:avLst/>
          </a:prstGeom>
        </p:spPr>
      </p:pic>
    </p:spTree>
    <p:extLst>
      <p:ext uri="{BB962C8B-B14F-4D97-AF65-F5344CB8AC3E}">
        <p14:creationId xmlns:p14="http://schemas.microsoft.com/office/powerpoint/2010/main" val="133845904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ja-JP" altLang="es-ES" dirty="0"/>
              <a:t>定量・定性の両側面から効果を想定</a:t>
            </a:r>
            <a:endParaRPr lang="en-US" dirty="0"/>
          </a:p>
        </p:txBody>
      </p:sp>
      <p:sp>
        <p:nvSpPr>
          <p:cNvPr id="4" name="Marcador de texto 3"/>
          <p:cNvSpPr>
            <a:spLocks noGrp="1"/>
          </p:cNvSpPr>
          <p:nvPr>
            <p:ph type="body" sz="quarter" idx="21"/>
          </p:nvPr>
        </p:nvSpPr>
        <p:spPr/>
        <p:txBody>
          <a:bodyPr/>
          <a:lstStyle/>
          <a:p>
            <a:r>
              <a:rPr lang="es-ES" altLang="ja-JP" dirty="0"/>
              <a:t>02. RPA</a:t>
            </a:r>
            <a:r>
              <a:rPr lang="ja-JP" altLang="es-ES" dirty="0"/>
              <a:t>活用の効果が得られる業務例</a:t>
            </a:r>
            <a:endParaRPr lang="en-GB" dirty="0"/>
          </a:p>
        </p:txBody>
      </p:sp>
      <p:pic>
        <p:nvPicPr>
          <p:cNvPr id="15" name="EV-ASSETS-nodos-2.png" descr="EV-ASSETS-nodos-2.png"/>
          <p:cNvPicPr>
            <a:picLocks noChangeAspect="1"/>
          </p:cNvPicPr>
          <p:nvPr/>
        </p:nvPicPr>
        <p:blipFill>
          <a:blip r:embed="rId2">
            <a:alphaModFix amt="25000"/>
          </a:blip>
          <a:stretch>
            <a:fillRect/>
          </a:stretch>
        </p:blipFill>
        <p:spPr>
          <a:xfrm>
            <a:off x="0" y="2004990"/>
            <a:ext cx="6784665" cy="7871307"/>
          </a:xfrm>
          <a:prstGeom prst="rect">
            <a:avLst/>
          </a:prstGeom>
          <a:ln w="12700">
            <a:miter lim="400000"/>
          </a:ln>
        </p:spPr>
      </p:pic>
      <p:sp>
        <p:nvSpPr>
          <p:cNvPr id="5" name="タイトル 1">
            <a:extLst>
              <a:ext uri="{FF2B5EF4-FFF2-40B4-BE49-F238E27FC236}">
                <a16:creationId xmlns:a16="http://schemas.microsoft.com/office/drawing/2014/main" id="{529368EC-D4BE-FBA5-FF74-9FF17FFB6847}"/>
              </a:ext>
            </a:extLst>
          </p:cNvPr>
          <p:cNvSpPr txBox="1">
            <a:spLocks/>
          </p:cNvSpPr>
          <p:nvPr/>
        </p:nvSpPr>
        <p:spPr>
          <a:xfrm>
            <a:off x="651463" y="1353079"/>
            <a:ext cx="12192000" cy="696628"/>
          </a:xfrm>
          <a:prstGeom prst="rect">
            <a:avLst/>
          </a:prstGeom>
        </p:spPr>
        <p:txBody>
          <a:bodyPr vert="horz" lIns="0" tIns="45720" rIns="0" bIns="45720" rtlCol="0" anchor="t" anchorCtr="0">
            <a:noAutofit/>
          </a:bodyPr>
          <a:lstStyle>
            <a:lvl1pPr algn="l" defTabSz="609555" rtl="0" eaLnBrk="1" fontAlgn="base" hangingPunct="1">
              <a:spcBef>
                <a:spcPct val="0"/>
              </a:spcBef>
              <a:spcAft>
                <a:spcPct val="0"/>
              </a:spcAft>
              <a:defRPr kumimoji="1" sz="3200" b="1" i="0" kern="1200" spc="0" baseline="0">
                <a:solidFill>
                  <a:schemeClr val="tx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pPr>
              <a:spcBef>
                <a:spcPct val="20000"/>
              </a:spcBef>
            </a:pPr>
            <a:r>
              <a:rPr lang="ja-JP" altLang="es-ES" sz="1800" dirty="0">
                <a:solidFill>
                  <a:srgbClr val="4B4B4B"/>
                </a:solidFill>
                <a:latin typeface="Meiryo UI" panose="020B0604030504040204" pitchFamily="50" charset="-128"/>
                <a:ea typeface="Meiryo UI" panose="020B0604030504040204" pitchFamily="50" charset="-128"/>
                <a:cs typeface="Arial"/>
              </a:rPr>
              <a:t>例えば・・・</a:t>
            </a:r>
            <a:endParaRPr lang="ja-JP" altLang="en-US" sz="1800" dirty="0">
              <a:solidFill>
                <a:srgbClr val="4B4B4B"/>
              </a:solidFill>
              <a:latin typeface="Meiryo UI" panose="020B0604030504040204" pitchFamily="50" charset="-128"/>
              <a:ea typeface="Meiryo UI" panose="020B0604030504040204" pitchFamily="50" charset="-128"/>
              <a:cs typeface="Arial"/>
            </a:endParaRPr>
          </a:p>
        </p:txBody>
      </p:sp>
      <p:sp>
        <p:nvSpPr>
          <p:cNvPr id="6" name="Rectángulo redondeado 6">
            <a:extLst>
              <a:ext uri="{FF2B5EF4-FFF2-40B4-BE49-F238E27FC236}">
                <a16:creationId xmlns:a16="http://schemas.microsoft.com/office/drawing/2014/main" id="{893C08D5-B2E7-27E9-6CA2-895354C378DC}"/>
              </a:ext>
            </a:extLst>
          </p:cNvPr>
          <p:cNvSpPr/>
          <p:nvPr/>
        </p:nvSpPr>
        <p:spPr>
          <a:xfrm>
            <a:off x="766693" y="1858910"/>
            <a:ext cx="5316293" cy="3967595"/>
          </a:xfrm>
          <a:prstGeom prst="roundRect">
            <a:avLst/>
          </a:prstGeom>
          <a:solidFill>
            <a:srgbClr val="FFFFFF">
              <a:lumMod val="95000"/>
              <a:alpha val="30000"/>
            </a:srgbClr>
          </a:solidFill>
        </p:spPr>
        <p:txBody>
          <a:bodyPr wrap="square">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spcBef>
                <a:spcPts val="600"/>
              </a:spcBef>
              <a:spcAft>
                <a:spcPts val="600"/>
              </a:spcAft>
              <a:buFont typeface="Arial" panose="020B0604020202020204" pitchFamily="34" charset="0"/>
              <a:buChar char="•"/>
              <a:defRPr/>
            </a:pPr>
            <a:r>
              <a:rPr lang="ja-JP" altLang="es-ES" sz="1400" dirty="0">
                <a:solidFill>
                  <a:srgbClr val="0070C0"/>
                </a:solidFill>
                <a:latin typeface="Calibri"/>
                <a:ea typeface="ＭＳ Ｐゴシック" panose="020B0600070205080204" pitchFamily="34" charset="-128"/>
                <a:cs typeface="Arial" panose="020B0604020202020204" pitchFamily="34" charset="0"/>
                <a:sym typeface="Calibri"/>
              </a:rPr>
              <a:t>繰り返しのシステム検索</a:t>
            </a: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入力、出力作業</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複数のシステムを参照する作業</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70C0"/>
                </a:solidFill>
                <a:latin typeface="Calibri"/>
                <a:ea typeface="ＭＳ Ｐゴシック" panose="020B0600070205080204" pitchFamily="34" charset="-128"/>
                <a:cs typeface="Arial" panose="020B0604020202020204" pitchFamily="34" charset="0"/>
                <a:sym typeface="Calibri"/>
              </a:rPr>
              <a:t>定期的な社内データ収集、計算作業</a:t>
            </a:r>
            <a:endParaRPr lang="es-ES" altLang="ja-JP" sz="1400" dirty="0">
              <a:solidFill>
                <a:srgbClr val="0070C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社内システムやファイルデータ比較</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rPr>
              <a:t>Web</a:t>
            </a: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からの定期的なデータ収集</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定期的なメール通知</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社内承認フロー</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定形ドキュメントの読み取り</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データベース検索</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月次レポート作成</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a:p>
            <a:pPr marL="285750" indent="-285750">
              <a:spcBef>
                <a:spcPts val="600"/>
              </a:spcBef>
              <a:spcAft>
                <a:spcPts val="600"/>
              </a:spcAft>
              <a:buFont typeface="Arial" panose="020B0604020202020204" pitchFamily="34" charset="0"/>
              <a:buChar char="•"/>
              <a:defRPr/>
            </a:pPr>
            <a:r>
              <a:rPr lang="ja-JP" altLang="es-ES" sz="1400" dirty="0">
                <a:solidFill>
                  <a:srgbClr val="000000"/>
                </a:solidFill>
                <a:latin typeface="Calibri"/>
                <a:ea typeface="ＭＳ Ｐゴシック" panose="020B0600070205080204" pitchFamily="34" charset="-128"/>
                <a:cs typeface="Arial" panose="020B0604020202020204" pitchFamily="34" charset="0"/>
                <a:sym typeface="Calibri"/>
              </a:rPr>
              <a:t>データを元にしたグラフ作成</a:t>
            </a:r>
            <a:endParaRPr lang="es-ES" altLang="ja-JP" sz="1400" dirty="0">
              <a:solidFill>
                <a:srgbClr val="000000"/>
              </a:solidFill>
              <a:latin typeface="Calibri"/>
              <a:ea typeface="ＭＳ Ｐゴシック" panose="020B0600070205080204" pitchFamily="34" charset="-128"/>
              <a:cs typeface="Arial" panose="020B0604020202020204" pitchFamily="34" charset="0"/>
              <a:sym typeface="Calibri"/>
            </a:endParaRPr>
          </a:p>
        </p:txBody>
      </p:sp>
      <p:sp>
        <p:nvSpPr>
          <p:cNvPr id="14" name="Rectángulo 13">
            <a:extLst>
              <a:ext uri="{FF2B5EF4-FFF2-40B4-BE49-F238E27FC236}">
                <a16:creationId xmlns:a16="http://schemas.microsoft.com/office/drawing/2014/main" id="{BDD6CB66-2CE2-4224-A964-1CF8ECBC8723}"/>
              </a:ext>
            </a:extLst>
          </p:cNvPr>
          <p:cNvSpPr/>
          <p:nvPr/>
        </p:nvSpPr>
        <p:spPr>
          <a:xfrm>
            <a:off x="5539689" y="1353079"/>
            <a:ext cx="4104456" cy="311977"/>
          </a:xfrm>
          <a:prstGeom prst="rect">
            <a:avLst/>
          </a:prstGeom>
        </p:spPr>
        <p:txBody>
          <a:bodyPr wrap="square" lIns="65119" tIns="32560" rIns="65119" bIns="3256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65572" indent="-65572" defTabSz="651196">
              <a:spcBef>
                <a:spcPts val="214"/>
              </a:spcBef>
              <a:spcAft>
                <a:spcPts val="214"/>
              </a:spcAft>
              <a:tabLst>
                <a:tab pos="0" algn="l"/>
              </a:tabLst>
              <a:defRPr/>
            </a:pPr>
            <a:r>
              <a:rPr lang="ja-JP" altLang="es-ES" sz="1600" b="1" dirty="0">
                <a:solidFill>
                  <a:srgbClr val="4472C4"/>
                </a:solidFill>
                <a:latin typeface="Arial" panose="020B0604020202020204"/>
                <a:ea typeface="ＭＳ Ｐゴシック" panose="020B0600070205080204" pitchFamily="34" charset="-128"/>
                <a:cs typeface="Arial" panose="020B0604020202020204" pitchFamily="34" charset="0"/>
                <a:sym typeface="Calibri"/>
              </a:rPr>
              <a:t>よく</a:t>
            </a:r>
            <a:r>
              <a:rPr lang="es-ES" altLang="ja-JP" sz="1600" b="1" dirty="0">
                <a:solidFill>
                  <a:srgbClr val="4472C4"/>
                </a:solidFill>
                <a:latin typeface="Arial" panose="020B0604020202020204"/>
                <a:ea typeface="ＭＳ Ｐゴシック" panose="020B0600070205080204" pitchFamily="34" charset="-128"/>
                <a:cs typeface="Arial" panose="020B0604020202020204" pitchFamily="34" charset="0"/>
                <a:sym typeface="Calibri"/>
              </a:rPr>
              <a:t>RPA</a:t>
            </a:r>
            <a:r>
              <a:rPr lang="ja-JP" altLang="es-ES" sz="1600" b="1" dirty="0">
                <a:solidFill>
                  <a:srgbClr val="4472C4"/>
                </a:solidFill>
                <a:latin typeface="Arial" panose="020B0604020202020204"/>
                <a:ea typeface="ＭＳ Ｐゴシック" panose="020B0600070205080204" pitchFamily="34" charset="-128"/>
                <a:cs typeface="Arial" panose="020B0604020202020204" pitchFamily="34" charset="0"/>
                <a:sym typeface="Calibri"/>
              </a:rPr>
              <a:t>が活用されている部署</a:t>
            </a:r>
            <a:endParaRPr lang="es-ES" sz="1600" b="1" dirty="0">
              <a:solidFill>
                <a:srgbClr val="4472C4"/>
              </a:solidFill>
              <a:latin typeface="Arial" panose="020B0604020202020204"/>
              <a:cs typeface="Arial" panose="020B0604020202020204" pitchFamily="34" charset="0"/>
              <a:sym typeface="Calibri"/>
            </a:endParaRPr>
          </a:p>
        </p:txBody>
      </p:sp>
      <p:grpSp>
        <p:nvGrpSpPr>
          <p:cNvPr id="101" name="Grupo 100">
            <a:extLst>
              <a:ext uri="{FF2B5EF4-FFF2-40B4-BE49-F238E27FC236}">
                <a16:creationId xmlns:a16="http://schemas.microsoft.com/office/drawing/2014/main" id="{BFE32615-1754-DA0A-63BA-4C8E2E09F8C6}"/>
              </a:ext>
            </a:extLst>
          </p:cNvPr>
          <p:cNvGrpSpPr/>
          <p:nvPr/>
        </p:nvGrpSpPr>
        <p:grpSpPr>
          <a:xfrm>
            <a:off x="5611746" y="1875742"/>
            <a:ext cx="6580254" cy="4429632"/>
            <a:chOff x="5730894" y="2048784"/>
            <a:chExt cx="6580254" cy="4752356"/>
          </a:xfrm>
        </p:grpSpPr>
        <p:sp>
          <p:nvSpPr>
            <p:cNvPr id="2" name="Elipse 1">
              <a:extLst>
                <a:ext uri="{FF2B5EF4-FFF2-40B4-BE49-F238E27FC236}">
                  <a16:creationId xmlns:a16="http://schemas.microsoft.com/office/drawing/2014/main" id="{293BC409-5634-1ECB-1641-CD525296F473}"/>
                </a:ext>
              </a:extLst>
            </p:cNvPr>
            <p:cNvSpPr/>
            <p:nvPr/>
          </p:nvSpPr>
          <p:spPr>
            <a:xfrm>
              <a:off x="5730894" y="6393213"/>
              <a:ext cx="432668" cy="407927"/>
            </a:xfrm>
            <a:prstGeom prst="ellipse">
              <a:avLst/>
            </a:prstGeom>
            <a:solidFill>
              <a:srgbClr val="002060"/>
            </a:solidFill>
            <a:ln w="12700" cap="flat" cmpd="sng" algn="ctr">
              <a:solidFill>
                <a:srgbClr val="9AAE0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Imagen 6">
              <a:extLst>
                <a:ext uri="{FF2B5EF4-FFF2-40B4-BE49-F238E27FC236}">
                  <a16:creationId xmlns:a16="http://schemas.microsoft.com/office/drawing/2014/main" id="{B91826DE-CA85-8EE7-95F7-76151726C9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41904" y="2048784"/>
              <a:ext cx="468000" cy="468000"/>
            </a:xfrm>
            <a:prstGeom prst="rect">
              <a:avLst/>
            </a:prstGeom>
          </p:spPr>
        </p:pic>
        <p:sp>
          <p:nvSpPr>
            <p:cNvPr id="8" name="Rectángulo 7">
              <a:extLst>
                <a:ext uri="{FF2B5EF4-FFF2-40B4-BE49-F238E27FC236}">
                  <a16:creationId xmlns:a16="http://schemas.microsoft.com/office/drawing/2014/main" id="{DFF71E8A-BC61-A4AD-69C1-B1C9A643B264}"/>
                </a:ext>
              </a:extLst>
            </p:cNvPr>
            <p:cNvSpPr/>
            <p:nvPr/>
          </p:nvSpPr>
          <p:spPr>
            <a:xfrm>
              <a:off x="6209905" y="2098858"/>
              <a:ext cx="5688543"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財務・会計（伝票データの入力・集計、支払消込、経費精算等）</a:t>
              </a:r>
              <a:endParaRPr lang="es-ES" sz="1400" b="1" kern="0" dirty="0">
                <a:solidFill>
                  <a:srgbClr val="080808"/>
                </a:solidFill>
                <a:latin typeface="Arial" panose="020B0604020202020204"/>
                <a:cs typeface="Arial" panose="020B0604020202020204" pitchFamily="34" charset="0"/>
                <a:sym typeface="Calibri"/>
              </a:endParaRPr>
            </a:p>
          </p:txBody>
        </p:sp>
        <p:sp>
          <p:nvSpPr>
            <p:cNvPr id="9" name="Rectángulo 8">
              <a:extLst>
                <a:ext uri="{FF2B5EF4-FFF2-40B4-BE49-F238E27FC236}">
                  <a16:creationId xmlns:a16="http://schemas.microsoft.com/office/drawing/2014/main" id="{E5DB1D4F-4254-C71F-34BA-1EA1CD08C281}"/>
                </a:ext>
              </a:extLst>
            </p:cNvPr>
            <p:cNvSpPr/>
            <p:nvPr/>
          </p:nvSpPr>
          <p:spPr>
            <a:xfrm>
              <a:off x="6209905" y="3946027"/>
              <a:ext cx="4181835"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カスタマーケア（問合せ内容の転記・集計等）</a:t>
              </a:r>
              <a:endParaRPr lang="es-ES" sz="1400" b="1" kern="0" dirty="0">
                <a:solidFill>
                  <a:srgbClr val="080808"/>
                </a:solidFill>
                <a:latin typeface="Arial" panose="020B0604020202020204"/>
                <a:cs typeface="Arial" panose="020B0604020202020204" pitchFamily="34" charset="0"/>
                <a:sym typeface="Calibri"/>
              </a:endParaRPr>
            </a:p>
          </p:txBody>
        </p:sp>
        <p:sp>
          <p:nvSpPr>
            <p:cNvPr id="10" name="Rectángulo 9">
              <a:extLst>
                <a:ext uri="{FF2B5EF4-FFF2-40B4-BE49-F238E27FC236}">
                  <a16:creationId xmlns:a16="http://schemas.microsoft.com/office/drawing/2014/main" id="{CF1C3871-DE36-21E9-EC2C-727D7364EC30}"/>
                </a:ext>
              </a:extLst>
            </p:cNvPr>
            <p:cNvSpPr/>
            <p:nvPr/>
          </p:nvSpPr>
          <p:spPr>
            <a:xfrm>
              <a:off x="6209234" y="5183771"/>
              <a:ext cx="5656832"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営業サポート（見込客リスト作成、見積・請求書の作成等）</a:t>
              </a:r>
              <a:endParaRPr lang="es-ES" sz="1400" b="1" kern="0" dirty="0">
                <a:solidFill>
                  <a:srgbClr val="080808"/>
                </a:solidFill>
                <a:latin typeface="Arial" panose="020B0604020202020204"/>
                <a:cs typeface="Arial" panose="020B0604020202020204" pitchFamily="34" charset="0"/>
                <a:sym typeface="Calibri"/>
              </a:endParaRPr>
            </a:p>
          </p:txBody>
        </p:sp>
        <p:pic>
          <p:nvPicPr>
            <p:cNvPr id="11" name="Imagen 10">
              <a:extLst>
                <a:ext uri="{FF2B5EF4-FFF2-40B4-BE49-F238E27FC236}">
                  <a16:creationId xmlns:a16="http://schemas.microsoft.com/office/drawing/2014/main" id="{B9CAECD5-29AD-357B-403A-093788D05B4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41235" y="4521944"/>
              <a:ext cx="468000" cy="468000"/>
            </a:xfrm>
            <a:prstGeom prst="rect">
              <a:avLst/>
            </a:prstGeom>
          </p:spPr>
        </p:pic>
        <p:pic>
          <p:nvPicPr>
            <p:cNvPr id="12" name="Imagen 11">
              <a:extLst>
                <a:ext uri="{FF2B5EF4-FFF2-40B4-BE49-F238E27FC236}">
                  <a16:creationId xmlns:a16="http://schemas.microsoft.com/office/drawing/2014/main" id="{7CFE1707-4F19-AC23-C929-202A99E8C12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41903" y="5161135"/>
              <a:ext cx="432000" cy="432000"/>
            </a:xfrm>
            <a:prstGeom prst="rect">
              <a:avLst/>
            </a:prstGeom>
          </p:spPr>
        </p:pic>
        <p:pic>
          <p:nvPicPr>
            <p:cNvPr id="13" name="Imagen 12">
              <a:extLst>
                <a:ext uri="{FF2B5EF4-FFF2-40B4-BE49-F238E27FC236}">
                  <a16:creationId xmlns:a16="http://schemas.microsoft.com/office/drawing/2014/main" id="{C51AA2E6-2788-1E3C-2AF7-7F6B3A1205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41904" y="3899023"/>
              <a:ext cx="468000" cy="468000"/>
            </a:xfrm>
            <a:prstGeom prst="rect">
              <a:avLst/>
            </a:prstGeom>
          </p:spPr>
        </p:pic>
        <p:sp>
          <p:nvSpPr>
            <p:cNvPr id="64" name="Rectángulo 63">
              <a:extLst>
                <a:ext uri="{FF2B5EF4-FFF2-40B4-BE49-F238E27FC236}">
                  <a16:creationId xmlns:a16="http://schemas.microsoft.com/office/drawing/2014/main" id="{CD3EBCD6-8DC8-104E-9778-C3344A8ABC8F}"/>
                </a:ext>
              </a:extLst>
            </p:cNvPr>
            <p:cNvSpPr/>
            <p:nvPr/>
          </p:nvSpPr>
          <p:spPr>
            <a:xfrm>
              <a:off x="6209235" y="2694593"/>
              <a:ext cx="6101913"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人事・総務（勤怠管理データ収集、給与計算、人事考課表作成等）</a:t>
              </a:r>
              <a:endParaRPr lang="es-ES" sz="1400" b="1" kern="0" dirty="0">
                <a:solidFill>
                  <a:srgbClr val="080808"/>
                </a:solidFill>
                <a:latin typeface="Arial" panose="020B0604020202020204"/>
                <a:cs typeface="Arial" panose="020B0604020202020204" pitchFamily="34" charset="0"/>
                <a:sym typeface="Calibri"/>
              </a:endParaRPr>
            </a:p>
          </p:txBody>
        </p:sp>
        <p:pic>
          <p:nvPicPr>
            <p:cNvPr id="65" name="Imagen 64">
              <a:extLst>
                <a:ext uri="{FF2B5EF4-FFF2-40B4-BE49-F238E27FC236}">
                  <a16:creationId xmlns:a16="http://schemas.microsoft.com/office/drawing/2014/main" id="{6EFE1697-A65F-9333-25FE-ED3D8EDA7C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41235" y="2655355"/>
              <a:ext cx="468000" cy="468000"/>
            </a:xfrm>
            <a:prstGeom prst="rect">
              <a:avLst/>
            </a:prstGeom>
          </p:spPr>
        </p:pic>
        <p:sp>
          <p:nvSpPr>
            <p:cNvPr id="66" name="Rectángulo 65">
              <a:extLst>
                <a:ext uri="{FF2B5EF4-FFF2-40B4-BE49-F238E27FC236}">
                  <a16:creationId xmlns:a16="http://schemas.microsoft.com/office/drawing/2014/main" id="{8D29F3E2-908A-27BE-6D1B-6F2F502C1093}"/>
                </a:ext>
              </a:extLst>
            </p:cNvPr>
            <p:cNvSpPr/>
            <p:nvPr/>
          </p:nvSpPr>
          <p:spPr>
            <a:xfrm>
              <a:off x="6209904" y="3299382"/>
              <a:ext cx="5951616"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調達・購買（サプライヤー登録、在庫・仕入状況検索等）</a:t>
              </a:r>
              <a:endParaRPr lang="es-ES" sz="1400" b="1" kern="0" dirty="0">
                <a:solidFill>
                  <a:srgbClr val="080808"/>
                </a:solidFill>
                <a:latin typeface="Arial" panose="020B0604020202020204"/>
                <a:cs typeface="Arial" panose="020B0604020202020204" pitchFamily="34" charset="0"/>
                <a:sym typeface="Calibri"/>
              </a:endParaRPr>
            </a:p>
          </p:txBody>
        </p:sp>
        <p:pic>
          <p:nvPicPr>
            <p:cNvPr id="67" name="Imagen 66">
              <a:extLst>
                <a:ext uri="{FF2B5EF4-FFF2-40B4-BE49-F238E27FC236}">
                  <a16:creationId xmlns:a16="http://schemas.microsoft.com/office/drawing/2014/main" id="{BF197142-1282-D867-BE2C-14D1156B37F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41903" y="3270666"/>
              <a:ext cx="468000" cy="468000"/>
            </a:xfrm>
            <a:prstGeom prst="rect">
              <a:avLst/>
            </a:prstGeom>
          </p:spPr>
        </p:pic>
        <p:sp>
          <p:nvSpPr>
            <p:cNvPr id="68" name="Rectángulo 67">
              <a:extLst>
                <a:ext uri="{FF2B5EF4-FFF2-40B4-BE49-F238E27FC236}">
                  <a16:creationId xmlns:a16="http://schemas.microsoft.com/office/drawing/2014/main" id="{39B050A4-9F36-B598-AE68-AE939485678D}"/>
                </a:ext>
              </a:extLst>
            </p:cNvPr>
            <p:cNvSpPr/>
            <p:nvPr/>
          </p:nvSpPr>
          <p:spPr>
            <a:xfrm>
              <a:off x="6209234" y="4561805"/>
              <a:ext cx="5124337"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オペレーション（物流業者のドキュメントファイル管理等）</a:t>
              </a:r>
              <a:endParaRPr lang="es-ES" sz="1400" b="1" kern="0" dirty="0">
                <a:solidFill>
                  <a:srgbClr val="080808"/>
                </a:solidFill>
                <a:latin typeface="Arial" panose="020B0604020202020204"/>
                <a:cs typeface="Arial" panose="020B0604020202020204" pitchFamily="34" charset="0"/>
                <a:sym typeface="Calibri"/>
              </a:endParaRPr>
            </a:p>
          </p:txBody>
        </p:sp>
        <p:sp>
          <p:nvSpPr>
            <p:cNvPr id="69" name="Rectángulo 68">
              <a:extLst>
                <a:ext uri="{FF2B5EF4-FFF2-40B4-BE49-F238E27FC236}">
                  <a16:creationId xmlns:a16="http://schemas.microsoft.com/office/drawing/2014/main" id="{AC4E448C-D6B6-F522-1620-E79B3D725AED}"/>
                </a:ext>
              </a:extLst>
            </p:cNvPr>
            <p:cNvSpPr/>
            <p:nvPr/>
          </p:nvSpPr>
          <p:spPr>
            <a:xfrm>
              <a:off x="6209234" y="5777422"/>
              <a:ext cx="5656832"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マーケティング・販売（アンケート集計、</a:t>
              </a:r>
              <a:r>
                <a:rPr lang="es-ES" altLang="ja-JP"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POS</a:t>
              </a: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データ収集等）</a:t>
              </a:r>
              <a:endParaRPr lang="es-ES" sz="1400" b="1" kern="0" dirty="0">
                <a:solidFill>
                  <a:srgbClr val="080808"/>
                </a:solidFill>
                <a:latin typeface="Arial" panose="020B0604020202020204"/>
                <a:cs typeface="Arial" panose="020B0604020202020204" pitchFamily="34" charset="0"/>
                <a:sym typeface="Calibri"/>
              </a:endParaRPr>
            </a:p>
          </p:txBody>
        </p:sp>
        <p:sp>
          <p:nvSpPr>
            <p:cNvPr id="70" name="Rectángulo 69">
              <a:extLst>
                <a:ext uri="{FF2B5EF4-FFF2-40B4-BE49-F238E27FC236}">
                  <a16:creationId xmlns:a16="http://schemas.microsoft.com/office/drawing/2014/main" id="{22FD19C2-8D61-03DC-8610-583DD7FBCCFD}"/>
                </a:ext>
              </a:extLst>
            </p:cNvPr>
            <p:cNvSpPr/>
            <p:nvPr/>
          </p:nvSpPr>
          <p:spPr>
            <a:xfrm>
              <a:off x="6241616" y="6383146"/>
              <a:ext cx="5656832" cy="30777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s-ES" altLang="ja-JP"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IT</a:t>
              </a: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a:t>
              </a:r>
              <a:r>
                <a:rPr lang="es-ES" altLang="ja-JP"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IT</a:t>
              </a:r>
              <a:r>
                <a:rPr lang="ja-JP" altLang="es-ES" sz="1400" b="1" kern="0" dirty="0">
                  <a:solidFill>
                    <a:srgbClr val="080808"/>
                  </a:solidFill>
                  <a:latin typeface="Arial" panose="020B0604020202020204"/>
                  <a:ea typeface="ＭＳ Ｐゴシック" panose="020B0600070205080204" pitchFamily="34" charset="-128"/>
                  <a:cs typeface="Arial" panose="020B0604020202020204" pitchFamily="34" charset="0"/>
                  <a:sym typeface="Calibri"/>
                </a:rPr>
                <a:t>資産の棚卸し等）</a:t>
              </a:r>
              <a:endParaRPr lang="es-ES" sz="1400" b="1" kern="0" dirty="0">
                <a:solidFill>
                  <a:srgbClr val="080808"/>
                </a:solidFill>
                <a:latin typeface="Arial" panose="020B0604020202020204"/>
                <a:cs typeface="Arial" panose="020B0604020202020204" pitchFamily="34" charset="0"/>
                <a:sym typeface="Calibri"/>
              </a:endParaRPr>
            </a:p>
          </p:txBody>
        </p:sp>
        <p:grpSp>
          <p:nvGrpSpPr>
            <p:cNvPr id="71" name="Programmer" descr="{&quot;Key&quot;:&quot;POWER_USER_SHAPE_ICON&quot;,&quot;Value&quot;:&quot;POWER_USER_SHAPE_ICON_STYLE_1&quot;}">
              <a:extLst>
                <a:ext uri="{FF2B5EF4-FFF2-40B4-BE49-F238E27FC236}">
                  <a16:creationId xmlns:a16="http://schemas.microsoft.com/office/drawing/2014/main" id="{F789D63A-8083-6D69-3DE0-4C31A49C56B2}"/>
                </a:ext>
              </a:extLst>
            </p:cNvPr>
            <p:cNvGrpSpPr>
              <a:grpSpLocks noChangeAspect="1"/>
            </p:cNvGrpSpPr>
            <p:nvPr/>
          </p:nvGrpSpPr>
          <p:grpSpPr>
            <a:xfrm>
              <a:off x="5805888" y="6432760"/>
              <a:ext cx="271638" cy="303757"/>
              <a:chOff x="8121651" y="5724525"/>
              <a:chExt cx="469900" cy="525463"/>
            </a:xfrm>
            <a:solidFill>
              <a:srgbClr val="FFFFFF"/>
            </a:solidFill>
          </p:grpSpPr>
          <p:sp>
            <p:nvSpPr>
              <p:cNvPr id="72" name="Freeform 804">
                <a:extLst>
                  <a:ext uri="{FF2B5EF4-FFF2-40B4-BE49-F238E27FC236}">
                    <a16:creationId xmlns:a16="http://schemas.microsoft.com/office/drawing/2014/main" id="{8C09B986-83E2-6B64-868E-A9D91BF2DF16}"/>
                  </a:ext>
                </a:extLst>
              </p:cNvPr>
              <p:cNvSpPr>
                <a:spLocks noEditPoints="1"/>
              </p:cNvSpPr>
              <p:nvPr/>
            </p:nvSpPr>
            <p:spPr bwMode="auto">
              <a:xfrm>
                <a:off x="8121651" y="6205538"/>
                <a:ext cx="469900" cy="44450"/>
              </a:xfrm>
              <a:custGeom>
                <a:avLst/>
                <a:gdLst>
                  <a:gd name="T0" fmla="*/ 28 w 584"/>
                  <a:gd name="T1" fmla="*/ 16 h 56"/>
                  <a:gd name="T2" fmla="*/ 17 w 584"/>
                  <a:gd name="T3" fmla="*/ 28 h 56"/>
                  <a:gd name="T4" fmla="*/ 28 w 584"/>
                  <a:gd name="T5" fmla="*/ 39 h 56"/>
                  <a:gd name="T6" fmla="*/ 556 w 584"/>
                  <a:gd name="T7" fmla="*/ 39 h 56"/>
                  <a:gd name="T8" fmla="*/ 568 w 584"/>
                  <a:gd name="T9" fmla="*/ 28 h 56"/>
                  <a:gd name="T10" fmla="*/ 556 w 584"/>
                  <a:gd name="T11" fmla="*/ 16 h 56"/>
                  <a:gd name="T12" fmla="*/ 28 w 584"/>
                  <a:gd name="T13" fmla="*/ 16 h 56"/>
                  <a:gd name="T14" fmla="*/ 556 w 584"/>
                  <a:gd name="T15" fmla="*/ 56 h 56"/>
                  <a:gd name="T16" fmla="*/ 28 w 584"/>
                  <a:gd name="T17" fmla="*/ 56 h 56"/>
                  <a:gd name="T18" fmla="*/ 0 w 584"/>
                  <a:gd name="T19" fmla="*/ 28 h 56"/>
                  <a:gd name="T20" fmla="*/ 28 w 584"/>
                  <a:gd name="T21" fmla="*/ 0 h 56"/>
                  <a:gd name="T22" fmla="*/ 556 w 584"/>
                  <a:gd name="T23" fmla="*/ 0 h 56"/>
                  <a:gd name="T24" fmla="*/ 584 w 584"/>
                  <a:gd name="T25" fmla="*/ 28 h 56"/>
                  <a:gd name="T26" fmla="*/ 556 w 584"/>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56">
                    <a:moveTo>
                      <a:pt x="28" y="16"/>
                    </a:moveTo>
                    <a:cubicBezTo>
                      <a:pt x="22" y="16"/>
                      <a:pt x="17" y="21"/>
                      <a:pt x="17" y="28"/>
                    </a:cubicBezTo>
                    <a:cubicBezTo>
                      <a:pt x="17" y="34"/>
                      <a:pt x="22" y="39"/>
                      <a:pt x="28" y="39"/>
                    </a:cubicBezTo>
                    <a:lnTo>
                      <a:pt x="556" y="39"/>
                    </a:lnTo>
                    <a:cubicBezTo>
                      <a:pt x="562" y="39"/>
                      <a:pt x="568" y="34"/>
                      <a:pt x="568" y="28"/>
                    </a:cubicBezTo>
                    <a:cubicBezTo>
                      <a:pt x="568" y="21"/>
                      <a:pt x="562" y="16"/>
                      <a:pt x="556" y="16"/>
                    </a:cubicBezTo>
                    <a:lnTo>
                      <a:pt x="28" y="16"/>
                    </a:lnTo>
                    <a:close/>
                    <a:moveTo>
                      <a:pt x="556" y="56"/>
                    </a:moveTo>
                    <a:lnTo>
                      <a:pt x="28" y="56"/>
                    </a:lnTo>
                    <a:cubicBezTo>
                      <a:pt x="13" y="56"/>
                      <a:pt x="0" y="43"/>
                      <a:pt x="0" y="28"/>
                    </a:cubicBezTo>
                    <a:cubicBezTo>
                      <a:pt x="0" y="12"/>
                      <a:pt x="13" y="0"/>
                      <a:pt x="28" y="0"/>
                    </a:cubicBezTo>
                    <a:lnTo>
                      <a:pt x="556" y="0"/>
                    </a:lnTo>
                    <a:cubicBezTo>
                      <a:pt x="572" y="0"/>
                      <a:pt x="584" y="12"/>
                      <a:pt x="584" y="28"/>
                    </a:cubicBezTo>
                    <a:cubicBezTo>
                      <a:pt x="584" y="43"/>
                      <a:pt x="572" y="56"/>
                      <a:pt x="556" y="56"/>
                    </a:cubicBez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3" name="Freeform 805">
                <a:extLst>
                  <a:ext uri="{FF2B5EF4-FFF2-40B4-BE49-F238E27FC236}">
                    <a16:creationId xmlns:a16="http://schemas.microsoft.com/office/drawing/2014/main" id="{7E250E86-CF5D-3000-F292-EEB8539D98FC}"/>
                  </a:ext>
                </a:extLst>
              </p:cNvPr>
              <p:cNvSpPr>
                <a:spLocks noEditPoints="1"/>
              </p:cNvSpPr>
              <p:nvPr/>
            </p:nvSpPr>
            <p:spPr bwMode="auto">
              <a:xfrm>
                <a:off x="8169276" y="6019801"/>
                <a:ext cx="374650" cy="198438"/>
              </a:xfrm>
              <a:custGeom>
                <a:avLst/>
                <a:gdLst>
                  <a:gd name="T0" fmla="*/ 37 w 466"/>
                  <a:gd name="T1" fmla="*/ 229 h 245"/>
                  <a:gd name="T2" fmla="*/ 430 w 466"/>
                  <a:gd name="T3" fmla="*/ 229 h 245"/>
                  <a:gd name="T4" fmla="*/ 448 w 466"/>
                  <a:gd name="T5" fmla="*/ 17 h 245"/>
                  <a:gd name="T6" fmla="*/ 18 w 466"/>
                  <a:gd name="T7" fmla="*/ 17 h 245"/>
                  <a:gd name="T8" fmla="*/ 37 w 466"/>
                  <a:gd name="T9" fmla="*/ 229 h 245"/>
                  <a:gd name="T10" fmla="*/ 445 w 466"/>
                  <a:gd name="T11" fmla="*/ 245 h 245"/>
                  <a:gd name="T12" fmla="*/ 21 w 466"/>
                  <a:gd name="T13" fmla="*/ 245 h 245"/>
                  <a:gd name="T14" fmla="*/ 0 w 466"/>
                  <a:gd name="T15" fmla="*/ 0 h 245"/>
                  <a:gd name="T16" fmla="*/ 466 w 466"/>
                  <a:gd name="T17" fmla="*/ 0 h 245"/>
                  <a:gd name="T18" fmla="*/ 445 w 466"/>
                  <a:gd name="T19"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6" h="245">
                    <a:moveTo>
                      <a:pt x="37" y="229"/>
                    </a:moveTo>
                    <a:lnTo>
                      <a:pt x="430" y="229"/>
                    </a:lnTo>
                    <a:lnTo>
                      <a:pt x="448" y="17"/>
                    </a:lnTo>
                    <a:lnTo>
                      <a:pt x="18" y="17"/>
                    </a:lnTo>
                    <a:lnTo>
                      <a:pt x="37" y="229"/>
                    </a:lnTo>
                    <a:close/>
                    <a:moveTo>
                      <a:pt x="445" y="245"/>
                    </a:moveTo>
                    <a:lnTo>
                      <a:pt x="21" y="245"/>
                    </a:lnTo>
                    <a:lnTo>
                      <a:pt x="0" y="0"/>
                    </a:lnTo>
                    <a:lnTo>
                      <a:pt x="466" y="0"/>
                    </a:lnTo>
                    <a:lnTo>
                      <a:pt x="445" y="245"/>
                    </a:lnTo>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4" name="Freeform 806">
                <a:extLst>
                  <a:ext uri="{FF2B5EF4-FFF2-40B4-BE49-F238E27FC236}">
                    <a16:creationId xmlns:a16="http://schemas.microsoft.com/office/drawing/2014/main" id="{864C32CA-34C1-F121-D077-3F71A82A3298}"/>
                  </a:ext>
                </a:extLst>
              </p:cNvPr>
              <p:cNvSpPr>
                <a:spLocks noEditPoints="1"/>
              </p:cNvSpPr>
              <p:nvPr/>
            </p:nvSpPr>
            <p:spPr bwMode="auto">
              <a:xfrm>
                <a:off x="8324851" y="6094413"/>
                <a:ext cx="65088" cy="57150"/>
              </a:xfrm>
              <a:custGeom>
                <a:avLst/>
                <a:gdLst>
                  <a:gd name="T0" fmla="*/ 40 w 80"/>
                  <a:gd name="T1" fmla="*/ 16 h 72"/>
                  <a:gd name="T2" fmla="*/ 17 w 80"/>
                  <a:gd name="T3" fmla="*/ 36 h 72"/>
                  <a:gd name="T4" fmla="*/ 40 w 80"/>
                  <a:gd name="T5" fmla="*/ 55 h 72"/>
                  <a:gd name="T6" fmla="*/ 63 w 80"/>
                  <a:gd name="T7" fmla="*/ 36 h 72"/>
                  <a:gd name="T8" fmla="*/ 40 w 80"/>
                  <a:gd name="T9" fmla="*/ 16 h 72"/>
                  <a:gd name="T10" fmla="*/ 40 w 80"/>
                  <a:gd name="T11" fmla="*/ 72 h 72"/>
                  <a:gd name="T12" fmla="*/ 0 w 80"/>
                  <a:gd name="T13" fmla="*/ 36 h 72"/>
                  <a:gd name="T14" fmla="*/ 40 w 80"/>
                  <a:gd name="T15" fmla="*/ 0 h 72"/>
                  <a:gd name="T16" fmla="*/ 80 w 80"/>
                  <a:gd name="T17" fmla="*/ 36 h 72"/>
                  <a:gd name="T18" fmla="*/ 40 w 80"/>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2">
                    <a:moveTo>
                      <a:pt x="40" y="16"/>
                    </a:moveTo>
                    <a:cubicBezTo>
                      <a:pt x="27" y="16"/>
                      <a:pt x="17" y="25"/>
                      <a:pt x="17" y="36"/>
                    </a:cubicBezTo>
                    <a:cubicBezTo>
                      <a:pt x="17" y="46"/>
                      <a:pt x="27" y="55"/>
                      <a:pt x="40" y="55"/>
                    </a:cubicBezTo>
                    <a:cubicBezTo>
                      <a:pt x="53" y="55"/>
                      <a:pt x="63" y="46"/>
                      <a:pt x="63" y="36"/>
                    </a:cubicBezTo>
                    <a:cubicBezTo>
                      <a:pt x="63" y="25"/>
                      <a:pt x="53" y="16"/>
                      <a:pt x="40" y="16"/>
                    </a:cubicBezTo>
                    <a:close/>
                    <a:moveTo>
                      <a:pt x="40" y="72"/>
                    </a:moveTo>
                    <a:cubicBezTo>
                      <a:pt x="18" y="72"/>
                      <a:pt x="0" y="56"/>
                      <a:pt x="0" y="36"/>
                    </a:cubicBezTo>
                    <a:cubicBezTo>
                      <a:pt x="0" y="16"/>
                      <a:pt x="18" y="0"/>
                      <a:pt x="40" y="0"/>
                    </a:cubicBezTo>
                    <a:cubicBezTo>
                      <a:pt x="62" y="0"/>
                      <a:pt x="80" y="16"/>
                      <a:pt x="80" y="36"/>
                    </a:cubicBezTo>
                    <a:cubicBezTo>
                      <a:pt x="80" y="56"/>
                      <a:pt x="62" y="72"/>
                      <a:pt x="40" y="72"/>
                    </a:cubicBez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5" name="Freeform 807">
                <a:extLst>
                  <a:ext uri="{FF2B5EF4-FFF2-40B4-BE49-F238E27FC236}">
                    <a16:creationId xmlns:a16="http://schemas.microsoft.com/office/drawing/2014/main" id="{FDCEE29F-32AA-D01F-424C-D538165B6882}"/>
                  </a:ext>
                </a:extLst>
              </p:cNvPr>
              <p:cNvSpPr>
                <a:spLocks/>
              </p:cNvSpPr>
              <p:nvPr/>
            </p:nvSpPr>
            <p:spPr bwMode="auto">
              <a:xfrm>
                <a:off x="8388351" y="5926138"/>
                <a:ext cx="139700" cy="103188"/>
              </a:xfrm>
              <a:custGeom>
                <a:avLst/>
                <a:gdLst>
                  <a:gd name="T0" fmla="*/ 158 w 174"/>
                  <a:gd name="T1" fmla="*/ 129 h 129"/>
                  <a:gd name="T2" fmla="*/ 111 w 174"/>
                  <a:gd name="T3" fmla="*/ 86 h 129"/>
                  <a:gd name="T4" fmla="*/ 50 w 174"/>
                  <a:gd name="T5" fmla="*/ 67 h 129"/>
                  <a:gd name="T6" fmla="*/ 20 w 174"/>
                  <a:gd name="T7" fmla="*/ 49 h 129"/>
                  <a:gd name="T8" fmla="*/ 0 w 174"/>
                  <a:gd name="T9" fmla="*/ 0 h 129"/>
                  <a:gd name="T10" fmla="*/ 16 w 174"/>
                  <a:gd name="T11" fmla="*/ 0 h 129"/>
                  <a:gd name="T12" fmla="*/ 32 w 174"/>
                  <a:gd name="T13" fmla="*/ 37 h 129"/>
                  <a:gd name="T14" fmla="*/ 54 w 174"/>
                  <a:gd name="T15" fmla="*/ 51 h 129"/>
                  <a:gd name="T16" fmla="*/ 116 w 174"/>
                  <a:gd name="T17" fmla="*/ 70 h 129"/>
                  <a:gd name="T18" fmla="*/ 174 w 174"/>
                  <a:gd name="T19" fmla="*/ 124 h 129"/>
                  <a:gd name="T20" fmla="*/ 158 w 174"/>
                  <a:gd name="T2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29">
                    <a:moveTo>
                      <a:pt x="158" y="129"/>
                    </a:moveTo>
                    <a:cubicBezTo>
                      <a:pt x="150" y="108"/>
                      <a:pt x="133" y="92"/>
                      <a:pt x="111" y="86"/>
                    </a:cubicBezTo>
                    <a:lnTo>
                      <a:pt x="50" y="67"/>
                    </a:lnTo>
                    <a:cubicBezTo>
                      <a:pt x="38" y="63"/>
                      <a:pt x="28" y="57"/>
                      <a:pt x="20" y="49"/>
                    </a:cubicBezTo>
                    <a:cubicBezTo>
                      <a:pt x="7" y="36"/>
                      <a:pt x="0" y="18"/>
                      <a:pt x="0" y="0"/>
                    </a:cubicBezTo>
                    <a:lnTo>
                      <a:pt x="16" y="0"/>
                    </a:lnTo>
                    <a:cubicBezTo>
                      <a:pt x="16" y="14"/>
                      <a:pt x="22" y="27"/>
                      <a:pt x="32" y="37"/>
                    </a:cubicBezTo>
                    <a:cubicBezTo>
                      <a:pt x="38" y="44"/>
                      <a:pt x="46" y="48"/>
                      <a:pt x="54" y="51"/>
                    </a:cubicBezTo>
                    <a:lnTo>
                      <a:pt x="116" y="70"/>
                    </a:lnTo>
                    <a:cubicBezTo>
                      <a:pt x="142" y="78"/>
                      <a:pt x="164" y="98"/>
                      <a:pt x="174" y="124"/>
                    </a:cubicBezTo>
                    <a:lnTo>
                      <a:pt x="158" y="129"/>
                    </a:lnTo>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6" name="Freeform 809">
                <a:extLst>
                  <a:ext uri="{FF2B5EF4-FFF2-40B4-BE49-F238E27FC236}">
                    <a16:creationId xmlns:a16="http://schemas.microsoft.com/office/drawing/2014/main" id="{38D36615-2CE9-6198-1D4B-650E392FE2C7}"/>
                  </a:ext>
                </a:extLst>
              </p:cNvPr>
              <p:cNvSpPr>
                <a:spLocks/>
              </p:cNvSpPr>
              <p:nvPr/>
            </p:nvSpPr>
            <p:spPr bwMode="auto">
              <a:xfrm>
                <a:off x="8186738" y="5927725"/>
                <a:ext cx="139700" cy="101600"/>
              </a:xfrm>
              <a:custGeom>
                <a:avLst/>
                <a:gdLst>
                  <a:gd name="T0" fmla="*/ 15 w 174"/>
                  <a:gd name="T1" fmla="*/ 126 h 126"/>
                  <a:gd name="T2" fmla="*/ 0 w 174"/>
                  <a:gd name="T3" fmla="*/ 121 h 126"/>
                  <a:gd name="T4" fmla="*/ 57 w 174"/>
                  <a:gd name="T5" fmla="*/ 67 h 126"/>
                  <a:gd name="T6" fmla="*/ 123 w 174"/>
                  <a:gd name="T7" fmla="*/ 47 h 126"/>
                  <a:gd name="T8" fmla="*/ 140 w 174"/>
                  <a:gd name="T9" fmla="*/ 37 h 126"/>
                  <a:gd name="T10" fmla="*/ 157 w 174"/>
                  <a:gd name="T11" fmla="*/ 0 h 126"/>
                  <a:gd name="T12" fmla="*/ 174 w 174"/>
                  <a:gd name="T13" fmla="*/ 0 h 126"/>
                  <a:gd name="T14" fmla="*/ 151 w 174"/>
                  <a:gd name="T15" fmla="*/ 50 h 126"/>
                  <a:gd name="T16" fmla="*/ 127 w 174"/>
                  <a:gd name="T17" fmla="*/ 63 h 126"/>
                  <a:gd name="T18" fmla="*/ 62 w 174"/>
                  <a:gd name="T19" fmla="*/ 83 h 126"/>
                  <a:gd name="T20" fmla="*/ 15 w 174"/>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26">
                    <a:moveTo>
                      <a:pt x="15" y="126"/>
                    </a:moveTo>
                    <a:lnTo>
                      <a:pt x="0" y="121"/>
                    </a:lnTo>
                    <a:cubicBezTo>
                      <a:pt x="10" y="95"/>
                      <a:pt x="31" y="75"/>
                      <a:pt x="57" y="67"/>
                    </a:cubicBezTo>
                    <a:lnTo>
                      <a:pt x="123" y="47"/>
                    </a:lnTo>
                    <a:cubicBezTo>
                      <a:pt x="129" y="45"/>
                      <a:pt x="135" y="41"/>
                      <a:pt x="140" y="37"/>
                    </a:cubicBezTo>
                    <a:cubicBezTo>
                      <a:pt x="151" y="28"/>
                      <a:pt x="157" y="14"/>
                      <a:pt x="157" y="0"/>
                    </a:cubicBezTo>
                    <a:lnTo>
                      <a:pt x="174" y="0"/>
                    </a:lnTo>
                    <a:cubicBezTo>
                      <a:pt x="174" y="19"/>
                      <a:pt x="166" y="37"/>
                      <a:pt x="151" y="50"/>
                    </a:cubicBezTo>
                    <a:cubicBezTo>
                      <a:pt x="144" y="56"/>
                      <a:pt x="136" y="60"/>
                      <a:pt x="127" y="63"/>
                    </a:cubicBezTo>
                    <a:lnTo>
                      <a:pt x="62" y="83"/>
                    </a:lnTo>
                    <a:cubicBezTo>
                      <a:pt x="41" y="89"/>
                      <a:pt x="23" y="105"/>
                      <a:pt x="15" y="126"/>
                    </a:cubicBez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7" name="Freeform 810">
                <a:extLst>
                  <a:ext uri="{FF2B5EF4-FFF2-40B4-BE49-F238E27FC236}">
                    <a16:creationId xmlns:a16="http://schemas.microsoft.com/office/drawing/2014/main" id="{0CFEC4D3-E8BC-90E2-D742-D21902148CCB}"/>
                  </a:ext>
                </a:extLst>
              </p:cNvPr>
              <p:cNvSpPr>
                <a:spLocks/>
              </p:cNvSpPr>
              <p:nvPr/>
            </p:nvSpPr>
            <p:spPr bwMode="auto">
              <a:xfrm>
                <a:off x="8278813" y="5875338"/>
                <a:ext cx="157163" cy="73025"/>
              </a:xfrm>
              <a:custGeom>
                <a:avLst/>
                <a:gdLst>
                  <a:gd name="T0" fmla="*/ 97 w 195"/>
                  <a:gd name="T1" fmla="*/ 91 h 91"/>
                  <a:gd name="T2" fmla="*/ 61 w 195"/>
                  <a:gd name="T3" fmla="*/ 80 h 91"/>
                  <a:gd name="T4" fmla="*/ 0 w 195"/>
                  <a:gd name="T5" fmla="*/ 1 h 91"/>
                  <a:gd name="T6" fmla="*/ 16 w 195"/>
                  <a:gd name="T7" fmla="*/ 1 h 91"/>
                  <a:gd name="T8" fmla="*/ 69 w 195"/>
                  <a:gd name="T9" fmla="*/ 66 h 91"/>
                  <a:gd name="T10" fmla="*/ 125 w 195"/>
                  <a:gd name="T11" fmla="*/ 66 h 91"/>
                  <a:gd name="T12" fmla="*/ 178 w 195"/>
                  <a:gd name="T13" fmla="*/ 0 h 91"/>
                  <a:gd name="T14" fmla="*/ 195 w 195"/>
                  <a:gd name="T15" fmla="*/ 0 h 91"/>
                  <a:gd name="T16" fmla="*/ 134 w 195"/>
                  <a:gd name="T17" fmla="*/ 80 h 91"/>
                  <a:gd name="T18" fmla="*/ 97 w 195"/>
                  <a:gd name="T1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91">
                    <a:moveTo>
                      <a:pt x="97" y="91"/>
                    </a:moveTo>
                    <a:cubicBezTo>
                      <a:pt x="84" y="91"/>
                      <a:pt x="72" y="87"/>
                      <a:pt x="61" y="80"/>
                    </a:cubicBezTo>
                    <a:cubicBezTo>
                      <a:pt x="20" y="55"/>
                      <a:pt x="0" y="29"/>
                      <a:pt x="0" y="1"/>
                    </a:cubicBezTo>
                    <a:lnTo>
                      <a:pt x="16" y="1"/>
                    </a:lnTo>
                    <a:cubicBezTo>
                      <a:pt x="16" y="23"/>
                      <a:pt x="34" y="44"/>
                      <a:pt x="69" y="66"/>
                    </a:cubicBezTo>
                    <a:cubicBezTo>
                      <a:pt x="86" y="77"/>
                      <a:pt x="108" y="77"/>
                      <a:pt x="125" y="66"/>
                    </a:cubicBezTo>
                    <a:cubicBezTo>
                      <a:pt x="149" y="51"/>
                      <a:pt x="178" y="27"/>
                      <a:pt x="178" y="0"/>
                    </a:cubicBezTo>
                    <a:lnTo>
                      <a:pt x="195" y="0"/>
                    </a:lnTo>
                    <a:cubicBezTo>
                      <a:pt x="195" y="35"/>
                      <a:pt x="162" y="63"/>
                      <a:pt x="134" y="80"/>
                    </a:cubicBezTo>
                    <a:cubicBezTo>
                      <a:pt x="123" y="87"/>
                      <a:pt x="110" y="91"/>
                      <a:pt x="97" y="91"/>
                    </a:cubicBezTo>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8" name="Freeform 811">
                <a:extLst>
                  <a:ext uri="{FF2B5EF4-FFF2-40B4-BE49-F238E27FC236}">
                    <a16:creationId xmlns:a16="http://schemas.microsoft.com/office/drawing/2014/main" id="{00FE68A8-5A4A-0DDD-7AD6-B7C433277F45}"/>
                  </a:ext>
                </a:extLst>
              </p:cNvPr>
              <p:cNvSpPr>
                <a:spLocks/>
              </p:cNvSpPr>
              <p:nvPr/>
            </p:nvSpPr>
            <p:spPr bwMode="auto">
              <a:xfrm>
                <a:off x="8291513" y="5965825"/>
                <a:ext cx="131763" cy="41275"/>
              </a:xfrm>
              <a:custGeom>
                <a:avLst/>
                <a:gdLst>
                  <a:gd name="T0" fmla="*/ 82 w 164"/>
                  <a:gd name="T1" fmla="*/ 51 h 51"/>
                  <a:gd name="T2" fmla="*/ 0 w 164"/>
                  <a:gd name="T3" fmla="*/ 0 h 51"/>
                  <a:gd name="T4" fmla="*/ 17 w 164"/>
                  <a:gd name="T5" fmla="*/ 0 h 51"/>
                  <a:gd name="T6" fmla="*/ 82 w 164"/>
                  <a:gd name="T7" fmla="*/ 35 h 51"/>
                  <a:gd name="T8" fmla="*/ 147 w 164"/>
                  <a:gd name="T9" fmla="*/ 0 h 51"/>
                  <a:gd name="T10" fmla="*/ 164 w 164"/>
                  <a:gd name="T11" fmla="*/ 0 h 51"/>
                  <a:gd name="T12" fmla="*/ 82 w 164"/>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64" h="51">
                    <a:moveTo>
                      <a:pt x="82" y="51"/>
                    </a:moveTo>
                    <a:cubicBezTo>
                      <a:pt x="36" y="51"/>
                      <a:pt x="0" y="29"/>
                      <a:pt x="0" y="0"/>
                    </a:cubicBezTo>
                    <a:lnTo>
                      <a:pt x="17" y="0"/>
                    </a:lnTo>
                    <a:cubicBezTo>
                      <a:pt x="17" y="19"/>
                      <a:pt x="47" y="35"/>
                      <a:pt x="82" y="35"/>
                    </a:cubicBezTo>
                    <a:cubicBezTo>
                      <a:pt x="117" y="35"/>
                      <a:pt x="147" y="19"/>
                      <a:pt x="147" y="0"/>
                    </a:cubicBezTo>
                    <a:lnTo>
                      <a:pt x="164" y="0"/>
                    </a:lnTo>
                    <a:cubicBezTo>
                      <a:pt x="164" y="29"/>
                      <a:pt x="128" y="51"/>
                      <a:pt x="82" y="51"/>
                    </a:cubicBezTo>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79" name="Freeform 812">
                <a:extLst>
                  <a:ext uri="{FF2B5EF4-FFF2-40B4-BE49-F238E27FC236}">
                    <a16:creationId xmlns:a16="http://schemas.microsoft.com/office/drawing/2014/main" id="{29092789-4AED-97C4-90A4-08F54C5D7E7C}"/>
                  </a:ext>
                </a:extLst>
              </p:cNvPr>
              <p:cNvSpPr>
                <a:spLocks/>
              </p:cNvSpPr>
              <p:nvPr/>
            </p:nvSpPr>
            <p:spPr bwMode="auto">
              <a:xfrm>
                <a:off x="8286751" y="5827713"/>
                <a:ext cx="141288" cy="69850"/>
              </a:xfrm>
              <a:custGeom>
                <a:avLst/>
                <a:gdLst>
                  <a:gd name="T0" fmla="*/ 110 w 177"/>
                  <a:gd name="T1" fmla="*/ 87 h 88"/>
                  <a:gd name="T2" fmla="*/ 109 w 177"/>
                  <a:gd name="T3" fmla="*/ 87 h 88"/>
                  <a:gd name="T4" fmla="*/ 102 w 177"/>
                  <a:gd name="T5" fmla="*/ 86 h 88"/>
                  <a:gd name="T6" fmla="*/ 100 w 177"/>
                  <a:gd name="T7" fmla="*/ 70 h 88"/>
                  <a:gd name="T8" fmla="*/ 91 w 177"/>
                  <a:gd name="T9" fmla="*/ 68 h 88"/>
                  <a:gd name="T10" fmla="*/ 85 w 177"/>
                  <a:gd name="T11" fmla="*/ 68 h 88"/>
                  <a:gd name="T12" fmla="*/ 77 w 177"/>
                  <a:gd name="T13" fmla="*/ 70 h 88"/>
                  <a:gd name="T14" fmla="*/ 74 w 177"/>
                  <a:gd name="T15" fmla="*/ 86 h 88"/>
                  <a:gd name="T16" fmla="*/ 68 w 177"/>
                  <a:gd name="T17" fmla="*/ 87 h 88"/>
                  <a:gd name="T18" fmla="*/ 15 w 177"/>
                  <a:gd name="T19" fmla="*/ 40 h 88"/>
                  <a:gd name="T20" fmla="*/ 0 w 177"/>
                  <a:gd name="T21" fmla="*/ 10 h 88"/>
                  <a:gd name="T22" fmla="*/ 13 w 177"/>
                  <a:gd name="T23" fmla="*/ 0 h 88"/>
                  <a:gd name="T24" fmla="*/ 31 w 177"/>
                  <a:gd name="T25" fmla="*/ 37 h 88"/>
                  <a:gd name="T26" fmla="*/ 60 w 177"/>
                  <a:gd name="T27" fmla="*/ 67 h 88"/>
                  <a:gd name="T28" fmla="*/ 62 w 177"/>
                  <a:gd name="T29" fmla="*/ 55 h 88"/>
                  <a:gd name="T30" fmla="*/ 82 w 177"/>
                  <a:gd name="T31" fmla="*/ 52 h 88"/>
                  <a:gd name="T32" fmla="*/ 94 w 177"/>
                  <a:gd name="T33" fmla="*/ 52 h 88"/>
                  <a:gd name="T34" fmla="*/ 114 w 177"/>
                  <a:gd name="T35" fmla="*/ 55 h 88"/>
                  <a:gd name="T36" fmla="*/ 116 w 177"/>
                  <a:gd name="T37" fmla="*/ 68 h 88"/>
                  <a:gd name="T38" fmla="*/ 145 w 177"/>
                  <a:gd name="T39" fmla="*/ 37 h 88"/>
                  <a:gd name="T40" fmla="*/ 164 w 177"/>
                  <a:gd name="T41" fmla="*/ 0 h 88"/>
                  <a:gd name="T42" fmla="*/ 177 w 177"/>
                  <a:gd name="T43" fmla="*/ 10 h 88"/>
                  <a:gd name="T44" fmla="*/ 161 w 177"/>
                  <a:gd name="T45" fmla="*/ 40 h 88"/>
                  <a:gd name="T46" fmla="*/ 110 w 177"/>
                  <a:gd name="T47" fmla="*/ 8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7" h="88">
                    <a:moveTo>
                      <a:pt x="110" y="87"/>
                    </a:moveTo>
                    <a:cubicBezTo>
                      <a:pt x="110" y="87"/>
                      <a:pt x="109" y="87"/>
                      <a:pt x="109" y="87"/>
                    </a:cubicBezTo>
                    <a:lnTo>
                      <a:pt x="102" y="86"/>
                    </a:lnTo>
                    <a:lnTo>
                      <a:pt x="100" y="70"/>
                    </a:lnTo>
                    <a:lnTo>
                      <a:pt x="91" y="68"/>
                    </a:lnTo>
                    <a:cubicBezTo>
                      <a:pt x="89" y="68"/>
                      <a:pt x="87" y="68"/>
                      <a:pt x="85" y="68"/>
                    </a:cubicBezTo>
                    <a:lnTo>
                      <a:pt x="77" y="70"/>
                    </a:lnTo>
                    <a:lnTo>
                      <a:pt x="74" y="86"/>
                    </a:lnTo>
                    <a:lnTo>
                      <a:pt x="68" y="87"/>
                    </a:lnTo>
                    <a:cubicBezTo>
                      <a:pt x="52" y="88"/>
                      <a:pt x="18" y="58"/>
                      <a:pt x="15" y="40"/>
                    </a:cubicBezTo>
                    <a:cubicBezTo>
                      <a:pt x="13" y="29"/>
                      <a:pt x="3" y="15"/>
                      <a:pt x="0" y="10"/>
                    </a:cubicBezTo>
                    <a:lnTo>
                      <a:pt x="13" y="0"/>
                    </a:lnTo>
                    <a:cubicBezTo>
                      <a:pt x="14" y="1"/>
                      <a:pt x="28" y="20"/>
                      <a:pt x="31" y="37"/>
                    </a:cubicBezTo>
                    <a:cubicBezTo>
                      <a:pt x="33" y="46"/>
                      <a:pt x="50" y="61"/>
                      <a:pt x="60" y="67"/>
                    </a:cubicBezTo>
                    <a:lnTo>
                      <a:pt x="62" y="55"/>
                    </a:lnTo>
                    <a:lnTo>
                      <a:pt x="82" y="52"/>
                    </a:lnTo>
                    <a:cubicBezTo>
                      <a:pt x="86" y="51"/>
                      <a:pt x="90" y="51"/>
                      <a:pt x="94" y="52"/>
                    </a:cubicBezTo>
                    <a:lnTo>
                      <a:pt x="114" y="55"/>
                    </a:lnTo>
                    <a:lnTo>
                      <a:pt x="116" y="68"/>
                    </a:lnTo>
                    <a:cubicBezTo>
                      <a:pt x="126" y="61"/>
                      <a:pt x="143" y="46"/>
                      <a:pt x="145" y="37"/>
                    </a:cubicBezTo>
                    <a:cubicBezTo>
                      <a:pt x="148" y="20"/>
                      <a:pt x="163" y="0"/>
                      <a:pt x="164" y="0"/>
                    </a:cubicBezTo>
                    <a:lnTo>
                      <a:pt x="177" y="10"/>
                    </a:lnTo>
                    <a:cubicBezTo>
                      <a:pt x="173" y="15"/>
                      <a:pt x="164" y="29"/>
                      <a:pt x="161" y="40"/>
                    </a:cubicBezTo>
                    <a:cubicBezTo>
                      <a:pt x="158" y="58"/>
                      <a:pt x="125" y="87"/>
                      <a:pt x="110" y="87"/>
                    </a:cubicBez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0" name="Freeform 813">
                <a:extLst>
                  <a:ext uri="{FF2B5EF4-FFF2-40B4-BE49-F238E27FC236}">
                    <a16:creationId xmlns:a16="http://schemas.microsoft.com/office/drawing/2014/main" id="{05A7296E-0290-1FCE-65DD-7EFC8DB064D2}"/>
                  </a:ext>
                </a:extLst>
              </p:cNvPr>
              <p:cNvSpPr>
                <a:spLocks/>
              </p:cNvSpPr>
              <p:nvPr/>
            </p:nvSpPr>
            <p:spPr bwMode="auto">
              <a:xfrm>
                <a:off x="8261351" y="5724525"/>
                <a:ext cx="96838" cy="163513"/>
              </a:xfrm>
              <a:custGeom>
                <a:avLst/>
                <a:gdLst>
                  <a:gd name="T0" fmla="*/ 40 w 119"/>
                  <a:gd name="T1" fmla="*/ 203 h 203"/>
                  <a:gd name="T2" fmla="*/ 37 w 119"/>
                  <a:gd name="T3" fmla="*/ 203 h 203"/>
                  <a:gd name="T4" fmla="*/ 9 w 119"/>
                  <a:gd name="T5" fmla="*/ 184 h 203"/>
                  <a:gd name="T6" fmla="*/ 0 w 119"/>
                  <a:gd name="T7" fmla="*/ 145 h 203"/>
                  <a:gd name="T8" fmla="*/ 22 w 119"/>
                  <a:gd name="T9" fmla="*/ 121 h 203"/>
                  <a:gd name="T10" fmla="*/ 24 w 119"/>
                  <a:gd name="T11" fmla="*/ 121 h 203"/>
                  <a:gd name="T12" fmla="*/ 28 w 119"/>
                  <a:gd name="T13" fmla="*/ 122 h 203"/>
                  <a:gd name="T14" fmla="*/ 28 w 119"/>
                  <a:gd name="T15" fmla="*/ 101 h 203"/>
                  <a:gd name="T16" fmla="*/ 28 w 119"/>
                  <a:gd name="T17" fmla="*/ 95 h 203"/>
                  <a:gd name="T18" fmla="*/ 34 w 119"/>
                  <a:gd name="T19" fmla="*/ 58 h 203"/>
                  <a:gd name="T20" fmla="*/ 119 w 119"/>
                  <a:gd name="T21" fmla="*/ 1 h 203"/>
                  <a:gd name="T22" fmla="*/ 118 w 119"/>
                  <a:gd name="T23" fmla="*/ 18 h 203"/>
                  <a:gd name="T24" fmla="*/ 50 w 119"/>
                  <a:gd name="T25" fmla="*/ 63 h 203"/>
                  <a:gd name="T26" fmla="*/ 45 w 119"/>
                  <a:gd name="T27" fmla="*/ 94 h 203"/>
                  <a:gd name="T28" fmla="*/ 45 w 119"/>
                  <a:gd name="T29" fmla="*/ 101 h 203"/>
                  <a:gd name="T30" fmla="*/ 45 w 119"/>
                  <a:gd name="T31" fmla="*/ 133 h 203"/>
                  <a:gd name="T32" fmla="*/ 44 w 119"/>
                  <a:gd name="T33" fmla="*/ 144 h 203"/>
                  <a:gd name="T34" fmla="*/ 21 w 119"/>
                  <a:gd name="T35" fmla="*/ 138 h 203"/>
                  <a:gd name="T36" fmla="*/ 17 w 119"/>
                  <a:gd name="T37" fmla="*/ 143 h 203"/>
                  <a:gd name="T38" fmla="*/ 24 w 119"/>
                  <a:gd name="T39" fmla="*/ 177 h 203"/>
                  <a:gd name="T40" fmla="*/ 37 w 119"/>
                  <a:gd name="T41" fmla="*/ 186 h 203"/>
                  <a:gd name="T42" fmla="*/ 40 w 119"/>
                  <a:gd name="T43" fmla="*/ 186 h 203"/>
                  <a:gd name="T44" fmla="*/ 40 w 119"/>
                  <a:gd name="T45"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40" y="203"/>
                    </a:moveTo>
                    <a:lnTo>
                      <a:pt x="37" y="203"/>
                    </a:lnTo>
                    <a:cubicBezTo>
                      <a:pt x="22" y="203"/>
                      <a:pt x="15" y="196"/>
                      <a:pt x="9" y="184"/>
                    </a:cubicBezTo>
                    <a:cubicBezTo>
                      <a:pt x="3" y="172"/>
                      <a:pt x="0" y="159"/>
                      <a:pt x="0" y="145"/>
                    </a:cubicBezTo>
                    <a:cubicBezTo>
                      <a:pt x="0" y="131"/>
                      <a:pt x="10" y="121"/>
                      <a:pt x="22" y="121"/>
                    </a:cubicBezTo>
                    <a:lnTo>
                      <a:pt x="24" y="121"/>
                    </a:lnTo>
                    <a:lnTo>
                      <a:pt x="28" y="122"/>
                    </a:lnTo>
                    <a:cubicBezTo>
                      <a:pt x="28" y="116"/>
                      <a:pt x="28" y="108"/>
                      <a:pt x="28" y="101"/>
                    </a:cubicBezTo>
                    <a:lnTo>
                      <a:pt x="28" y="95"/>
                    </a:lnTo>
                    <a:cubicBezTo>
                      <a:pt x="28" y="82"/>
                      <a:pt x="30" y="72"/>
                      <a:pt x="34" y="58"/>
                    </a:cubicBezTo>
                    <a:cubicBezTo>
                      <a:pt x="50" y="6"/>
                      <a:pt x="86" y="0"/>
                      <a:pt x="119" y="1"/>
                    </a:cubicBezTo>
                    <a:lnTo>
                      <a:pt x="118" y="18"/>
                    </a:lnTo>
                    <a:cubicBezTo>
                      <a:pt x="86" y="17"/>
                      <a:pt x="62" y="24"/>
                      <a:pt x="50" y="63"/>
                    </a:cubicBezTo>
                    <a:cubicBezTo>
                      <a:pt x="47" y="75"/>
                      <a:pt x="45" y="84"/>
                      <a:pt x="45" y="94"/>
                    </a:cubicBezTo>
                    <a:lnTo>
                      <a:pt x="45" y="101"/>
                    </a:lnTo>
                    <a:cubicBezTo>
                      <a:pt x="45" y="112"/>
                      <a:pt x="45" y="124"/>
                      <a:pt x="45" y="133"/>
                    </a:cubicBezTo>
                    <a:lnTo>
                      <a:pt x="44" y="144"/>
                    </a:lnTo>
                    <a:lnTo>
                      <a:pt x="21" y="138"/>
                    </a:lnTo>
                    <a:cubicBezTo>
                      <a:pt x="19" y="138"/>
                      <a:pt x="17" y="141"/>
                      <a:pt x="17" y="143"/>
                    </a:cubicBezTo>
                    <a:cubicBezTo>
                      <a:pt x="17" y="157"/>
                      <a:pt x="19" y="167"/>
                      <a:pt x="24" y="177"/>
                    </a:cubicBezTo>
                    <a:cubicBezTo>
                      <a:pt x="28" y="186"/>
                      <a:pt x="31" y="186"/>
                      <a:pt x="37" y="186"/>
                    </a:cubicBezTo>
                    <a:lnTo>
                      <a:pt x="40" y="186"/>
                    </a:lnTo>
                    <a:lnTo>
                      <a:pt x="40" y="203"/>
                    </a:lnTo>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1" name="Freeform 814">
                <a:extLst>
                  <a:ext uri="{FF2B5EF4-FFF2-40B4-BE49-F238E27FC236}">
                    <a16:creationId xmlns:a16="http://schemas.microsoft.com/office/drawing/2014/main" id="{7694077A-1E84-050A-2BC7-D15B14D5CA65}"/>
                  </a:ext>
                </a:extLst>
              </p:cNvPr>
              <p:cNvSpPr>
                <a:spLocks/>
              </p:cNvSpPr>
              <p:nvPr/>
            </p:nvSpPr>
            <p:spPr bwMode="auto">
              <a:xfrm>
                <a:off x="8356601" y="5724525"/>
                <a:ext cx="96838" cy="163513"/>
              </a:xfrm>
              <a:custGeom>
                <a:avLst/>
                <a:gdLst>
                  <a:gd name="T0" fmla="*/ 82 w 119"/>
                  <a:gd name="T1" fmla="*/ 203 h 203"/>
                  <a:gd name="T2" fmla="*/ 79 w 119"/>
                  <a:gd name="T3" fmla="*/ 203 h 203"/>
                  <a:gd name="T4" fmla="*/ 79 w 119"/>
                  <a:gd name="T5" fmla="*/ 186 h 203"/>
                  <a:gd name="T6" fmla="*/ 95 w 119"/>
                  <a:gd name="T7" fmla="*/ 177 h 203"/>
                  <a:gd name="T8" fmla="*/ 102 w 119"/>
                  <a:gd name="T9" fmla="*/ 145 h 203"/>
                  <a:gd name="T10" fmla="*/ 98 w 119"/>
                  <a:gd name="T11" fmla="*/ 138 h 203"/>
                  <a:gd name="T12" fmla="*/ 75 w 119"/>
                  <a:gd name="T13" fmla="*/ 143 h 203"/>
                  <a:gd name="T14" fmla="*/ 74 w 119"/>
                  <a:gd name="T15" fmla="*/ 133 h 203"/>
                  <a:gd name="T16" fmla="*/ 74 w 119"/>
                  <a:gd name="T17" fmla="*/ 99 h 203"/>
                  <a:gd name="T18" fmla="*/ 74 w 119"/>
                  <a:gd name="T19" fmla="*/ 94 h 203"/>
                  <a:gd name="T20" fmla="*/ 69 w 119"/>
                  <a:gd name="T21" fmla="*/ 63 h 203"/>
                  <a:gd name="T22" fmla="*/ 1 w 119"/>
                  <a:gd name="T23" fmla="*/ 18 h 203"/>
                  <a:gd name="T24" fmla="*/ 0 w 119"/>
                  <a:gd name="T25" fmla="*/ 1 h 203"/>
                  <a:gd name="T26" fmla="*/ 85 w 119"/>
                  <a:gd name="T27" fmla="*/ 58 h 203"/>
                  <a:gd name="T28" fmla="*/ 91 w 119"/>
                  <a:gd name="T29" fmla="*/ 95 h 203"/>
                  <a:gd name="T30" fmla="*/ 91 w 119"/>
                  <a:gd name="T31" fmla="*/ 99 h 203"/>
                  <a:gd name="T32" fmla="*/ 91 w 119"/>
                  <a:gd name="T33" fmla="*/ 122 h 203"/>
                  <a:gd name="T34" fmla="*/ 97 w 119"/>
                  <a:gd name="T35" fmla="*/ 121 h 203"/>
                  <a:gd name="T36" fmla="*/ 119 w 119"/>
                  <a:gd name="T37" fmla="*/ 143 h 203"/>
                  <a:gd name="T38" fmla="*/ 110 w 119"/>
                  <a:gd name="T39" fmla="*/ 184 h 203"/>
                  <a:gd name="T40" fmla="*/ 82 w 119"/>
                  <a:gd name="T41" fmla="*/ 203 h 203"/>
                  <a:gd name="T42" fmla="*/ 82 w 119"/>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9" h="203">
                    <a:moveTo>
                      <a:pt x="82" y="203"/>
                    </a:moveTo>
                    <a:lnTo>
                      <a:pt x="79" y="203"/>
                    </a:lnTo>
                    <a:lnTo>
                      <a:pt x="79" y="186"/>
                    </a:lnTo>
                    <a:cubicBezTo>
                      <a:pt x="87" y="186"/>
                      <a:pt x="92" y="183"/>
                      <a:pt x="95" y="177"/>
                    </a:cubicBezTo>
                    <a:cubicBezTo>
                      <a:pt x="100" y="167"/>
                      <a:pt x="102" y="156"/>
                      <a:pt x="102" y="145"/>
                    </a:cubicBezTo>
                    <a:cubicBezTo>
                      <a:pt x="102" y="141"/>
                      <a:pt x="100" y="138"/>
                      <a:pt x="98" y="138"/>
                    </a:cubicBezTo>
                    <a:lnTo>
                      <a:pt x="75" y="143"/>
                    </a:lnTo>
                    <a:lnTo>
                      <a:pt x="74" y="133"/>
                    </a:lnTo>
                    <a:cubicBezTo>
                      <a:pt x="74" y="123"/>
                      <a:pt x="74" y="109"/>
                      <a:pt x="74" y="99"/>
                    </a:cubicBezTo>
                    <a:lnTo>
                      <a:pt x="74" y="94"/>
                    </a:lnTo>
                    <a:cubicBezTo>
                      <a:pt x="74" y="84"/>
                      <a:pt x="72" y="75"/>
                      <a:pt x="69" y="63"/>
                    </a:cubicBezTo>
                    <a:cubicBezTo>
                      <a:pt x="57" y="24"/>
                      <a:pt x="33" y="17"/>
                      <a:pt x="1" y="18"/>
                    </a:cubicBezTo>
                    <a:lnTo>
                      <a:pt x="0" y="1"/>
                    </a:lnTo>
                    <a:cubicBezTo>
                      <a:pt x="33" y="0"/>
                      <a:pt x="69" y="6"/>
                      <a:pt x="85" y="58"/>
                    </a:cubicBezTo>
                    <a:cubicBezTo>
                      <a:pt x="89" y="72"/>
                      <a:pt x="91" y="82"/>
                      <a:pt x="91" y="95"/>
                    </a:cubicBezTo>
                    <a:lnTo>
                      <a:pt x="91" y="99"/>
                    </a:lnTo>
                    <a:cubicBezTo>
                      <a:pt x="91" y="106"/>
                      <a:pt x="91" y="115"/>
                      <a:pt x="91" y="122"/>
                    </a:cubicBezTo>
                    <a:lnTo>
                      <a:pt x="97" y="121"/>
                    </a:lnTo>
                    <a:cubicBezTo>
                      <a:pt x="109" y="121"/>
                      <a:pt x="119" y="131"/>
                      <a:pt x="119" y="143"/>
                    </a:cubicBezTo>
                    <a:cubicBezTo>
                      <a:pt x="119" y="159"/>
                      <a:pt x="116" y="172"/>
                      <a:pt x="110" y="184"/>
                    </a:cubicBezTo>
                    <a:cubicBezTo>
                      <a:pt x="104" y="196"/>
                      <a:pt x="95" y="202"/>
                      <a:pt x="82" y="203"/>
                    </a:cubicBezTo>
                    <a:lnTo>
                      <a:pt x="82" y="203"/>
                    </a:lnTo>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grpSp>
        <p:sp>
          <p:nvSpPr>
            <p:cNvPr id="82" name="Elipse 81">
              <a:extLst>
                <a:ext uri="{FF2B5EF4-FFF2-40B4-BE49-F238E27FC236}">
                  <a16:creationId xmlns:a16="http://schemas.microsoft.com/office/drawing/2014/main" id="{335696F7-7A80-8456-F699-F04DB561DAB2}"/>
                </a:ext>
              </a:extLst>
            </p:cNvPr>
            <p:cNvSpPr/>
            <p:nvPr/>
          </p:nvSpPr>
          <p:spPr>
            <a:xfrm>
              <a:off x="5731819" y="5799304"/>
              <a:ext cx="432668" cy="407927"/>
            </a:xfrm>
            <a:prstGeom prst="ellipse">
              <a:avLst/>
            </a:prstGeom>
            <a:solidFill>
              <a:srgbClr val="0070C0"/>
            </a:solidFill>
            <a:ln w="12700" cap="flat" cmpd="sng" algn="ctr">
              <a:solidFill>
                <a:srgbClr val="9AAE0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83" name="Communication9" descr="{&quot;Key&quot;:&quot;POWER_USER_SHAPE_ICON&quot;,&quot;Value&quot;:&quot;POWER_USER_SHAPE_ICON_STYLE_1&quot;}">
              <a:extLst>
                <a:ext uri="{FF2B5EF4-FFF2-40B4-BE49-F238E27FC236}">
                  <a16:creationId xmlns:a16="http://schemas.microsoft.com/office/drawing/2014/main" id="{3B8CB550-E0F9-E809-D930-4F8B8F189496}"/>
                </a:ext>
              </a:extLst>
            </p:cNvPr>
            <p:cNvGrpSpPr>
              <a:grpSpLocks noChangeAspect="1"/>
            </p:cNvGrpSpPr>
            <p:nvPr/>
          </p:nvGrpSpPr>
          <p:grpSpPr>
            <a:xfrm>
              <a:off x="5780188" y="5843085"/>
              <a:ext cx="346530" cy="310266"/>
              <a:chOff x="8078788" y="1208088"/>
              <a:chExt cx="273050" cy="244475"/>
            </a:xfrm>
            <a:solidFill>
              <a:srgbClr val="9AAE04"/>
            </a:solidFill>
          </p:grpSpPr>
          <p:sp>
            <p:nvSpPr>
              <p:cNvPr id="84" name="Freeform 1983">
                <a:extLst>
                  <a:ext uri="{FF2B5EF4-FFF2-40B4-BE49-F238E27FC236}">
                    <a16:creationId xmlns:a16="http://schemas.microsoft.com/office/drawing/2014/main" id="{25750128-6866-4815-11F0-ED705273CE17}"/>
                  </a:ext>
                </a:extLst>
              </p:cNvPr>
              <p:cNvSpPr>
                <a:spLocks noEditPoints="1"/>
              </p:cNvSpPr>
              <p:nvPr/>
            </p:nvSpPr>
            <p:spPr bwMode="auto">
              <a:xfrm>
                <a:off x="8196263" y="1265238"/>
                <a:ext cx="55563" cy="125413"/>
              </a:xfrm>
              <a:custGeom>
                <a:avLst/>
                <a:gdLst>
                  <a:gd name="T0" fmla="*/ 236 w 1535"/>
                  <a:gd name="T1" fmla="*/ 283 h 3419"/>
                  <a:gd name="T2" fmla="*/ 1121 w 1535"/>
                  <a:gd name="T3" fmla="*/ 3194 h 3419"/>
                  <a:gd name="T4" fmla="*/ 1299 w 1535"/>
                  <a:gd name="T5" fmla="*/ 3140 h 3419"/>
                  <a:gd name="T6" fmla="*/ 414 w 1535"/>
                  <a:gd name="T7" fmla="*/ 229 h 3419"/>
                  <a:gd name="T8" fmla="*/ 236 w 1535"/>
                  <a:gd name="T9" fmla="*/ 283 h 3419"/>
                  <a:gd name="T10" fmla="*/ 1054 w 1535"/>
                  <a:gd name="T11" fmla="*/ 3419 h 3419"/>
                  <a:gd name="T12" fmla="*/ 1008 w 1535"/>
                  <a:gd name="T13" fmla="*/ 3408 h 3419"/>
                  <a:gd name="T14" fmla="*/ 959 w 1535"/>
                  <a:gd name="T15" fmla="*/ 3348 h 3419"/>
                  <a:gd name="T16" fmla="*/ 16 w 1535"/>
                  <a:gd name="T17" fmla="*/ 245 h 3419"/>
                  <a:gd name="T18" fmla="*/ 82 w 1535"/>
                  <a:gd name="T19" fmla="*/ 120 h 3419"/>
                  <a:gd name="T20" fmla="*/ 451 w 1535"/>
                  <a:gd name="T21" fmla="*/ 9 h 3419"/>
                  <a:gd name="T22" fmla="*/ 527 w 1535"/>
                  <a:gd name="T23" fmla="*/ 17 h 3419"/>
                  <a:gd name="T24" fmla="*/ 576 w 1535"/>
                  <a:gd name="T25" fmla="*/ 75 h 3419"/>
                  <a:gd name="T26" fmla="*/ 1519 w 1535"/>
                  <a:gd name="T27" fmla="*/ 3178 h 3419"/>
                  <a:gd name="T28" fmla="*/ 1453 w 1535"/>
                  <a:gd name="T29" fmla="*/ 3303 h 3419"/>
                  <a:gd name="T30" fmla="*/ 1083 w 1535"/>
                  <a:gd name="T31" fmla="*/ 3415 h 3419"/>
                  <a:gd name="T32" fmla="*/ 1054 w 1535"/>
                  <a:gd name="T33" fmla="*/ 3419 h 3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5" h="3419">
                    <a:moveTo>
                      <a:pt x="236" y="283"/>
                    </a:moveTo>
                    <a:lnTo>
                      <a:pt x="1121" y="3194"/>
                    </a:lnTo>
                    <a:lnTo>
                      <a:pt x="1299" y="3140"/>
                    </a:lnTo>
                    <a:lnTo>
                      <a:pt x="414" y="229"/>
                    </a:lnTo>
                    <a:lnTo>
                      <a:pt x="236" y="283"/>
                    </a:lnTo>
                    <a:close/>
                    <a:moveTo>
                      <a:pt x="1054" y="3419"/>
                    </a:moveTo>
                    <a:cubicBezTo>
                      <a:pt x="1038" y="3419"/>
                      <a:pt x="1022" y="3415"/>
                      <a:pt x="1008" y="3408"/>
                    </a:cubicBezTo>
                    <a:cubicBezTo>
                      <a:pt x="984" y="3394"/>
                      <a:pt x="966" y="3374"/>
                      <a:pt x="959" y="3348"/>
                    </a:cubicBezTo>
                    <a:lnTo>
                      <a:pt x="16" y="245"/>
                    </a:lnTo>
                    <a:cubicBezTo>
                      <a:pt x="0" y="192"/>
                      <a:pt x="29" y="137"/>
                      <a:pt x="82" y="120"/>
                    </a:cubicBezTo>
                    <a:lnTo>
                      <a:pt x="451" y="9"/>
                    </a:lnTo>
                    <a:cubicBezTo>
                      <a:pt x="477" y="0"/>
                      <a:pt x="503" y="3"/>
                      <a:pt x="527" y="17"/>
                    </a:cubicBezTo>
                    <a:cubicBezTo>
                      <a:pt x="551" y="29"/>
                      <a:pt x="568" y="50"/>
                      <a:pt x="576" y="75"/>
                    </a:cubicBezTo>
                    <a:lnTo>
                      <a:pt x="1519" y="3178"/>
                    </a:lnTo>
                    <a:cubicBezTo>
                      <a:pt x="1535" y="3231"/>
                      <a:pt x="1506" y="3287"/>
                      <a:pt x="1453" y="3303"/>
                    </a:cubicBezTo>
                    <a:lnTo>
                      <a:pt x="1083" y="3415"/>
                    </a:lnTo>
                    <a:cubicBezTo>
                      <a:pt x="1074" y="3418"/>
                      <a:pt x="1065" y="3419"/>
                      <a:pt x="1054" y="3419"/>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5" name="Freeform 1984">
                <a:extLst>
                  <a:ext uri="{FF2B5EF4-FFF2-40B4-BE49-F238E27FC236}">
                    <a16:creationId xmlns:a16="http://schemas.microsoft.com/office/drawing/2014/main" id="{CD144748-8CC6-8930-516F-82170F834B0A}"/>
                  </a:ext>
                </a:extLst>
              </p:cNvPr>
              <p:cNvSpPr>
                <a:spLocks/>
              </p:cNvSpPr>
              <p:nvPr/>
            </p:nvSpPr>
            <p:spPr bwMode="auto">
              <a:xfrm>
                <a:off x="8078788" y="1270000"/>
                <a:ext cx="158750" cy="125413"/>
              </a:xfrm>
              <a:custGeom>
                <a:avLst/>
                <a:gdLst>
                  <a:gd name="T0" fmla="*/ 1018 w 4384"/>
                  <a:gd name="T1" fmla="*/ 3444 h 3444"/>
                  <a:gd name="T2" fmla="*/ 650 w 4384"/>
                  <a:gd name="T3" fmla="*/ 3370 h 3444"/>
                  <a:gd name="T4" fmla="*/ 56 w 4384"/>
                  <a:gd name="T5" fmla="*/ 2240 h 3444"/>
                  <a:gd name="T6" fmla="*/ 446 w 4384"/>
                  <a:gd name="T7" fmla="*/ 1645 h 3444"/>
                  <a:gd name="T8" fmla="*/ 1456 w 4384"/>
                  <a:gd name="T9" fmla="*/ 1288 h 3444"/>
                  <a:gd name="T10" fmla="*/ 1488 w 4384"/>
                  <a:gd name="T11" fmla="*/ 1281 h 3444"/>
                  <a:gd name="T12" fmla="*/ 2780 w 4384"/>
                  <a:gd name="T13" fmla="*/ 585 h 3444"/>
                  <a:gd name="T14" fmla="*/ 3174 w 4384"/>
                  <a:gd name="T15" fmla="*/ 69 h 3444"/>
                  <a:gd name="T16" fmla="*/ 3308 w 4384"/>
                  <a:gd name="T17" fmla="*/ 25 h 3444"/>
                  <a:gd name="T18" fmla="*/ 3353 w 4384"/>
                  <a:gd name="T19" fmla="*/ 159 h 3444"/>
                  <a:gd name="T20" fmla="*/ 2927 w 4384"/>
                  <a:gd name="T21" fmla="*/ 720 h 3444"/>
                  <a:gd name="T22" fmla="*/ 1529 w 4384"/>
                  <a:gd name="T23" fmla="*/ 1477 h 3444"/>
                  <a:gd name="T24" fmla="*/ 1497 w 4384"/>
                  <a:gd name="T25" fmla="*/ 1483 h 3444"/>
                  <a:gd name="T26" fmla="*/ 561 w 4384"/>
                  <a:gd name="T27" fmla="*/ 1809 h 3444"/>
                  <a:gd name="T28" fmla="*/ 254 w 4384"/>
                  <a:gd name="T29" fmla="*/ 2265 h 3444"/>
                  <a:gd name="T30" fmla="*/ 736 w 4384"/>
                  <a:gd name="T31" fmla="*/ 3189 h 3444"/>
                  <a:gd name="T32" fmla="*/ 1767 w 4384"/>
                  <a:gd name="T33" fmla="*/ 3084 h 3444"/>
                  <a:gd name="T34" fmla="*/ 1978 w 4384"/>
                  <a:gd name="T35" fmla="*/ 3020 h 3444"/>
                  <a:gd name="T36" fmla="*/ 4311 w 4384"/>
                  <a:gd name="T37" fmla="*/ 3106 h 3444"/>
                  <a:gd name="T38" fmla="*/ 4361 w 4384"/>
                  <a:gd name="T39" fmla="*/ 3238 h 3444"/>
                  <a:gd name="T40" fmla="*/ 4229 w 4384"/>
                  <a:gd name="T41" fmla="*/ 3288 h 3444"/>
                  <a:gd name="T42" fmla="*/ 2032 w 4384"/>
                  <a:gd name="T43" fmla="*/ 3213 h 3444"/>
                  <a:gd name="T44" fmla="*/ 1828 w 4384"/>
                  <a:gd name="T45" fmla="*/ 3275 h 3444"/>
                  <a:gd name="T46" fmla="*/ 1018 w 4384"/>
                  <a:gd name="T47" fmla="*/ 3444 h 3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84" h="3444">
                    <a:moveTo>
                      <a:pt x="1018" y="3444"/>
                    </a:moveTo>
                    <a:cubicBezTo>
                      <a:pt x="889" y="3444"/>
                      <a:pt x="764" y="3423"/>
                      <a:pt x="650" y="3370"/>
                    </a:cubicBezTo>
                    <a:cubicBezTo>
                      <a:pt x="261" y="3187"/>
                      <a:pt x="0" y="2691"/>
                      <a:pt x="56" y="2240"/>
                    </a:cubicBezTo>
                    <a:cubicBezTo>
                      <a:pt x="86" y="2005"/>
                      <a:pt x="217" y="1806"/>
                      <a:pt x="446" y="1645"/>
                    </a:cubicBezTo>
                    <a:cubicBezTo>
                      <a:pt x="751" y="1432"/>
                      <a:pt x="1109" y="1359"/>
                      <a:pt x="1456" y="1288"/>
                    </a:cubicBezTo>
                    <a:lnTo>
                      <a:pt x="1488" y="1281"/>
                    </a:lnTo>
                    <a:cubicBezTo>
                      <a:pt x="2109" y="1153"/>
                      <a:pt x="2533" y="832"/>
                      <a:pt x="2780" y="585"/>
                    </a:cubicBezTo>
                    <a:cubicBezTo>
                      <a:pt x="3049" y="315"/>
                      <a:pt x="3173" y="72"/>
                      <a:pt x="3174" y="69"/>
                    </a:cubicBezTo>
                    <a:cubicBezTo>
                      <a:pt x="3198" y="20"/>
                      <a:pt x="3259" y="0"/>
                      <a:pt x="3308" y="25"/>
                    </a:cubicBezTo>
                    <a:cubicBezTo>
                      <a:pt x="3357" y="49"/>
                      <a:pt x="3377" y="109"/>
                      <a:pt x="3353" y="159"/>
                    </a:cubicBezTo>
                    <a:cubicBezTo>
                      <a:pt x="3347" y="169"/>
                      <a:pt x="3217" y="428"/>
                      <a:pt x="2927" y="720"/>
                    </a:cubicBezTo>
                    <a:cubicBezTo>
                      <a:pt x="2660" y="988"/>
                      <a:pt x="2201" y="1338"/>
                      <a:pt x="1529" y="1477"/>
                    </a:cubicBezTo>
                    <a:lnTo>
                      <a:pt x="1497" y="1483"/>
                    </a:lnTo>
                    <a:cubicBezTo>
                      <a:pt x="1170" y="1551"/>
                      <a:pt x="832" y="1620"/>
                      <a:pt x="561" y="1809"/>
                    </a:cubicBezTo>
                    <a:cubicBezTo>
                      <a:pt x="377" y="1938"/>
                      <a:pt x="277" y="2086"/>
                      <a:pt x="254" y="2265"/>
                    </a:cubicBezTo>
                    <a:cubicBezTo>
                      <a:pt x="209" y="2628"/>
                      <a:pt x="425" y="3043"/>
                      <a:pt x="736" y="3189"/>
                    </a:cubicBezTo>
                    <a:cubicBezTo>
                      <a:pt x="1015" y="3320"/>
                      <a:pt x="1433" y="3189"/>
                      <a:pt x="1767" y="3084"/>
                    </a:cubicBezTo>
                    <a:cubicBezTo>
                      <a:pt x="1842" y="3060"/>
                      <a:pt x="1913" y="3039"/>
                      <a:pt x="1978" y="3020"/>
                    </a:cubicBezTo>
                    <a:cubicBezTo>
                      <a:pt x="3285" y="2656"/>
                      <a:pt x="4270" y="3088"/>
                      <a:pt x="4311" y="3106"/>
                    </a:cubicBezTo>
                    <a:cubicBezTo>
                      <a:pt x="4361" y="3129"/>
                      <a:pt x="4384" y="3188"/>
                      <a:pt x="4361" y="3238"/>
                    </a:cubicBezTo>
                    <a:cubicBezTo>
                      <a:pt x="4339" y="3288"/>
                      <a:pt x="4279" y="3311"/>
                      <a:pt x="4229" y="3288"/>
                    </a:cubicBezTo>
                    <a:cubicBezTo>
                      <a:pt x="4220" y="3285"/>
                      <a:pt x="3265" y="2869"/>
                      <a:pt x="2032" y="3213"/>
                    </a:cubicBezTo>
                    <a:cubicBezTo>
                      <a:pt x="1970" y="3230"/>
                      <a:pt x="1900" y="3252"/>
                      <a:pt x="1828" y="3275"/>
                    </a:cubicBezTo>
                    <a:cubicBezTo>
                      <a:pt x="1579" y="3353"/>
                      <a:pt x="1288" y="3444"/>
                      <a:pt x="1018" y="3444"/>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6" name="Freeform 1985">
                <a:extLst>
                  <a:ext uri="{FF2B5EF4-FFF2-40B4-BE49-F238E27FC236}">
                    <a16:creationId xmlns:a16="http://schemas.microsoft.com/office/drawing/2014/main" id="{DAB3B447-12C6-10CF-1742-AE299E6BE3A3}"/>
                  </a:ext>
                </a:extLst>
              </p:cNvPr>
              <p:cNvSpPr>
                <a:spLocks/>
              </p:cNvSpPr>
              <p:nvPr/>
            </p:nvSpPr>
            <p:spPr bwMode="auto">
              <a:xfrm>
                <a:off x="8110538" y="1395413"/>
                <a:ext cx="50800" cy="57150"/>
              </a:xfrm>
              <a:custGeom>
                <a:avLst/>
                <a:gdLst>
                  <a:gd name="T0" fmla="*/ 817 w 1374"/>
                  <a:gd name="T1" fmla="*/ 1596 h 1596"/>
                  <a:gd name="T2" fmla="*/ 306 w 1374"/>
                  <a:gd name="T3" fmla="*/ 1198 h 1596"/>
                  <a:gd name="T4" fmla="*/ 15 w 1374"/>
                  <a:gd name="T5" fmla="*/ 243 h 1596"/>
                  <a:gd name="T6" fmla="*/ 81 w 1374"/>
                  <a:gd name="T7" fmla="*/ 117 h 1596"/>
                  <a:gd name="T8" fmla="*/ 207 w 1374"/>
                  <a:gd name="T9" fmla="*/ 184 h 1596"/>
                  <a:gd name="T10" fmla="*/ 497 w 1374"/>
                  <a:gd name="T11" fmla="*/ 1140 h 1596"/>
                  <a:gd name="T12" fmla="*/ 898 w 1374"/>
                  <a:gd name="T13" fmla="*/ 1384 h 1596"/>
                  <a:gd name="T14" fmla="*/ 1095 w 1374"/>
                  <a:gd name="T15" fmla="*/ 958 h 1596"/>
                  <a:gd name="T16" fmla="*/ 1094 w 1374"/>
                  <a:gd name="T17" fmla="*/ 957 h 1596"/>
                  <a:gd name="T18" fmla="*/ 857 w 1374"/>
                  <a:gd name="T19" fmla="*/ 141 h 1596"/>
                  <a:gd name="T20" fmla="*/ 924 w 1374"/>
                  <a:gd name="T21" fmla="*/ 17 h 1596"/>
                  <a:gd name="T22" fmla="*/ 1048 w 1374"/>
                  <a:gd name="T23" fmla="*/ 83 h 1596"/>
                  <a:gd name="T24" fmla="*/ 1286 w 1374"/>
                  <a:gd name="T25" fmla="*/ 901 h 1596"/>
                  <a:gd name="T26" fmla="*/ 956 w 1374"/>
                  <a:gd name="T27" fmla="*/ 1575 h 1596"/>
                  <a:gd name="T28" fmla="*/ 817 w 1374"/>
                  <a:gd name="T29" fmla="*/ 1596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4" h="1596">
                    <a:moveTo>
                      <a:pt x="817" y="1596"/>
                    </a:moveTo>
                    <a:cubicBezTo>
                      <a:pt x="592" y="1596"/>
                      <a:pt x="379" y="1438"/>
                      <a:pt x="306" y="1198"/>
                    </a:cubicBezTo>
                    <a:lnTo>
                      <a:pt x="15" y="243"/>
                    </a:lnTo>
                    <a:cubicBezTo>
                      <a:pt x="0" y="190"/>
                      <a:pt x="29" y="134"/>
                      <a:pt x="81" y="117"/>
                    </a:cubicBezTo>
                    <a:cubicBezTo>
                      <a:pt x="134" y="101"/>
                      <a:pt x="190" y="131"/>
                      <a:pt x="207" y="184"/>
                    </a:cubicBezTo>
                    <a:lnTo>
                      <a:pt x="497" y="1140"/>
                    </a:lnTo>
                    <a:cubicBezTo>
                      <a:pt x="554" y="1325"/>
                      <a:pt x="733" y="1433"/>
                      <a:pt x="898" y="1384"/>
                    </a:cubicBezTo>
                    <a:cubicBezTo>
                      <a:pt x="1062" y="1334"/>
                      <a:pt x="1150" y="1142"/>
                      <a:pt x="1095" y="958"/>
                    </a:cubicBezTo>
                    <a:cubicBezTo>
                      <a:pt x="1095" y="957"/>
                      <a:pt x="1094" y="957"/>
                      <a:pt x="1094" y="957"/>
                    </a:cubicBezTo>
                    <a:cubicBezTo>
                      <a:pt x="1093" y="951"/>
                      <a:pt x="949" y="443"/>
                      <a:pt x="857" y="141"/>
                    </a:cubicBezTo>
                    <a:cubicBezTo>
                      <a:pt x="841" y="88"/>
                      <a:pt x="871" y="33"/>
                      <a:pt x="924" y="17"/>
                    </a:cubicBezTo>
                    <a:cubicBezTo>
                      <a:pt x="976" y="0"/>
                      <a:pt x="1031" y="30"/>
                      <a:pt x="1048" y="83"/>
                    </a:cubicBezTo>
                    <a:cubicBezTo>
                      <a:pt x="1138" y="381"/>
                      <a:pt x="1280" y="877"/>
                      <a:pt x="1286" y="901"/>
                    </a:cubicBezTo>
                    <a:cubicBezTo>
                      <a:pt x="1374" y="1191"/>
                      <a:pt x="1226" y="1493"/>
                      <a:pt x="956" y="1575"/>
                    </a:cubicBezTo>
                    <a:cubicBezTo>
                      <a:pt x="910" y="1589"/>
                      <a:pt x="862" y="1596"/>
                      <a:pt x="817" y="1596"/>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7" name="Freeform 1986">
                <a:extLst>
                  <a:ext uri="{FF2B5EF4-FFF2-40B4-BE49-F238E27FC236}">
                    <a16:creationId xmlns:a16="http://schemas.microsoft.com/office/drawing/2014/main" id="{F7A66B86-FC98-3C8C-0B0E-99409F3CAFA3}"/>
                  </a:ext>
                </a:extLst>
              </p:cNvPr>
              <p:cNvSpPr>
                <a:spLocks/>
              </p:cNvSpPr>
              <p:nvPr/>
            </p:nvSpPr>
            <p:spPr bwMode="auto">
              <a:xfrm>
                <a:off x="8221663" y="1301750"/>
                <a:ext cx="31750" cy="47625"/>
              </a:xfrm>
              <a:custGeom>
                <a:avLst/>
                <a:gdLst>
                  <a:gd name="T0" fmla="*/ 462 w 873"/>
                  <a:gd name="T1" fmla="*/ 1297 h 1297"/>
                  <a:gd name="T2" fmla="*/ 381 w 873"/>
                  <a:gd name="T3" fmla="*/ 1255 h 1297"/>
                  <a:gd name="T4" fmla="*/ 405 w 873"/>
                  <a:gd name="T5" fmla="*/ 1116 h 1297"/>
                  <a:gd name="T6" fmla="*/ 594 w 873"/>
                  <a:gd name="T7" fmla="*/ 563 h 1297"/>
                  <a:gd name="T8" fmla="*/ 104 w 873"/>
                  <a:gd name="T9" fmla="*/ 208 h 1297"/>
                  <a:gd name="T10" fmla="*/ 2 w 873"/>
                  <a:gd name="T11" fmla="*/ 110 h 1297"/>
                  <a:gd name="T12" fmla="*/ 100 w 873"/>
                  <a:gd name="T13" fmla="*/ 8 h 1297"/>
                  <a:gd name="T14" fmla="*/ 785 w 873"/>
                  <a:gd name="T15" fmla="*/ 504 h 1297"/>
                  <a:gd name="T16" fmla="*/ 521 w 873"/>
                  <a:gd name="T17" fmla="*/ 1278 h 1297"/>
                  <a:gd name="T18" fmla="*/ 462 w 873"/>
                  <a:gd name="T19"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3" h="1297">
                    <a:moveTo>
                      <a:pt x="462" y="1297"/>
                    </a:moveTo>
                    <a:cubicBezTo>
                      <a:pt x="431" y="1297"/>
                      <a:pt x="401" y="1282"/>
                      <a:pt x="381" y="1255"/>
                    </a:cubicBezTo>
                    <a:cubicBezTo>
                      <a:pt x="349" y="1209"/>
                      <a:pt x="360" y="1147"/>
                      <a:pt x="405" y="1116"/>
                    </a:cubicBezTo>
                    <a:cubicBezTo>
                      <a:pt x="581" y="991"/>
                      <a:pt x="656" y="769"/>
                      <a:pt x="594" y="563"/>
                    </a:cubicBezTo>
                    <a:cubicBezTo>
                      <a:pt x="529" y="348"/>
                      <a:pt x="327" y="203"/>
                      <a:pt x="104" y="208"/>
                    </a:cubicBezTo>
                    <a:cubicBezTo>
                      <a:pt x="49" y="208"/>
                      <a:pt x="3" y="166"/>
                      <a:pt x="2" y="110"/>
                    </a:cubicBezTo>
                    <a:cubicBezTo>
                      <a:pt x="0" y="55"/>
                      <a:pt x="44" y="10"/>
                      <a:pt x="100" y="8"/>
                    </a:cubicBezTo>
                    <a:cubicBezTo>
                      <a:pt x="412" y="0"/>
                      <a:pt x="694" y="205"/>
                      <a:pt x="785" y="504"/>
                    </a:cubicBezTo>
                    <a:cubicBezTo>
                      <a:pt x="873" y="792"/>
                      <a:pt x="767" y="1103"/>
                      <a:pt x="521" y="1278"/>
                    </a:cubicBezTo>
                    <a:cubicBezTo>
                      <a:pt x="503" y="1291"/>
                      <a:pt x="483" y="1297"/>
                      <a:pt x="462" y="1297"/>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8" name="Freeform 1987">
                <a:extLst>
                  <a:ext uri="{FF2B5EF4-FFF2-40B4-BE49-F238E27FC236}">
                    <a16:creationId xmlns:a16="http://schemas.microsoft.com/office/drawing/2014/main" id="{A1B9A3ED-1C3E-EEE3-F9E3-C7DE383A8041}"/>
                  </a:ext>
                </a:extLst>
              </p:cNvPr>
              <p:cNvSpPr>
                <a:spLocks/>
              </p:cNvSpPr>
              <p:nvPr/>
            </p:nvSpPr>
            <p:spPr bwMode="auto">
              <a:xfrm>
                <a:off x="8116888" y="1323975"/>
                <a:ext cx="26988" cy="66675"/>
              </a:xfrm>
              <a:custGeom>
                <a:avLst/>
                <a:gdLst>
                  <a:gd name="T0" fmla="*/ 602 w 714"/>
                  <a:gd name="T1" fmla="*/ 1827 h 1827"/>
                  <a:gd name="T2" fmla="*/ 507 w 714"/>
                  <a:gd name="T3" fmla="*/ 1755 h 1827"/>
                  <a:gd name="T4" fmla="*/ 16 w 714"/>
                  <a:gd name="T5" fmla="*/ 141 h 1827"/>
                  <a:gd name="T6" fmla="*/ 83 w 714"/>
                  <a:gd name="T7" fmla="*/ 16 h 1827"/>
                  <a:gd name="T8" fmla="*/ 208 w 714"/>
                  <a:gd name="T9" fmla="*/ 83 h 1827"/>
                  <a:gd name="T10" fmla="*/ 698 w 714"/>
                  <a:gd name="T11" fmla="*/ 1697 h 1827"/>
                  <a:gd name="T12" fmla="*/ 632 w 714"/>
                  <a:gd name="T13" fmla="*/ 1822 h 1827"/>
                  <a:gd name="T14" fmla="*/ 602 w 714"/>
                  <a:gd name="T15" fmla="*/ 1827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4" h="1827">
                    <a:moveTo>
                      <a:pt x="602" y="1827"/>
                    </a:moveTo>
                    <a:cubicBezTo>
                      <a:pt x="560" y="1827"/>
                      <a:pt x="520" y="1799"/>
                      <a:pt x="507" y="1755"/>
                    </a:cubicBezTo>
                    <a:lnTo>
                      <a:pt x="16" y="141"/>
                    </a:lnTo>
                    <a:cubicBezTo>
                      <a:pt x="0" y="88"/>
                      <a:pt x="30" y="32"/>
                      <a:pt x="83" y="16"/>
                    </a:cubicBezTo>
                    <a:cubicBezTo>
                      <a:pt x="136" y="0"/>
                      <a:pt x="192" y="30"/>
                      <a:pt x="208" y="83"/>
                    </a:cubicBezTo>
                    <a:lnTo>
                      <a:pt x="698" y="1697"/>
                    </a:lnTo>
                    <a:cubicBezTo>
                      <a:pt x="714" y="1750"/>
                      <a:pt x="684" y="1806"/>
                      <a:pt x="632" y="1822"/>
                    </a:cubicBezTo>
                    <a:cubicBezTo>
                      <a:pt x="622" y="1825"/>
                      <a:pt x="612" y="1827"/>
                      <a:pt x="602" y="1827"/>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89" name="Freeform 1988">
                <a:extLst>
                  <a:ext uri="{FF2B5EF4-FFF2-40B4-BE49-F238E27FC236}">
                    <a16:creationId xmlns:a16="http://schemas.microsoft.com/office/drawing/2014/main" id="{DEF7FDA7-CE09-4988-593B-949693AA68BB}"/>
                  </a:ext>
                </a:extLst>
              </p:cNvPr>
              <p:cNvSpPr>
                <a:spLocks/>
              </p:cNvSpPr>
              <p:nvPr/>
            </p:nvSpPr>
            <p:spPr bwMode="auto">
              <a:xfrm>
                <a:off x="8135938" y="1317625"/>
                <a:ext cx="26988" cy="66675"/>
              </a:xfrm>
              <a:custGeom>
                <a:avLst/>
                <a:gdLst>
                  <a:gd name="T0" fmla="*/ 602 w 714"/>
                  <a:gd name="T1" fmla="*/ 1826 h 1826"/>
                  <a:gd name="T2" fmla="*/ 507 w 714"/>
                  <a:gd name="T3" fmla="*/ 1755 h 1826"/>
                  <a:gd name="T4" fmla="*/ 16 w 714"/>
                  <a:gd name="T5" fmla="*/ 141 h 1826"/>
                  <a:gd name="T6" fmla="*/ 82 w 714"/>
                  <a:gd name="T7" fmla="*/ 16 h 1826"/>
                  <a:gd name="T8" fmla="*/ 207 w 714"/>
                  <a:gd name="T9" fmla="*/ 83 h 1826"/>
                  <a:gd name="T10" fmla="*/ 698 w 714"/>
                  <a:gd name="T11" fmla="*/ 1697 h 1826"/>
                  <a:gd name="T12" fmla="*/ 631 w 714"/>
                  <a:gd name="T13" fmla="*/ 1822 h 1826"/>
                  <a:gd name="T14" fmla="*/ 602 w 714"/>
                  <a:gd name="T15" fmla="*/ 1826 h 18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4" h="1826">
                    <a:moveTo>
                      <a:pt x="602" y="1826"/>
                    </a:moveTo>
                    <a:cubicBezTo>
                      <a:pt x="559" y="1826"/>
                      <a:pt x="520" y="1799"/>
                      <a:pt x="507" y="1755"/>
                    </a:cubicBezTo>
                    <a:lnTo>
                      <a:pt x="16" y="141"/>
                    </a:lnTo>
                    <a:cubicBezTo>
                      <a:pt x="0" y="88"/>
                      <a:pt x="30" y="32"/>
                      <a:pt x="82" y="16"/>
                    </a:cubicBezTo>
                    <a:cubicBezTo>
                      <a:pt x="135" y="0"/>
                      <a:pt x="191" y="30"/>
                      <a:pt x="207" y="83"/>
                    </a:cubicBezTo>
                    <a:lnTo>
                      <a:pt x="698" y="1697"/>
                    </a:lnTo>
                    <a:cubicBezTo>
                      <a:pt x="714" y="1750"/>
                      <a:pt x="684" y="1806"/>
                      <a:pt x="631" y="1822"/>
                    </a:cubicBezTo>
                    <a:cubicBezTo>
                      <a:pt x="622" y="1825"/>
                      <a:pt x="612" y="1826"/>
                      <a:pt x="602" y="1826"/>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0" name="Freeform 1989">
                <a:extLst>
                  <a:ext uri="{FF2B5EF4-FFF2-40B4-BE49-F238E27FC236}">
                    <a16:creationId xmlns:a16="http://schemas.microsoft.com/office/drawing/2014/main" id="{536B05F6-C5F7-CE34-4F6C-38B2843E2E40}"/>
                  </a:ext>
                </a:extLst>
              </p:cNvPr>
              <p:cNvSpPr>
                <a:spLocks/>
              </p:cNvSpPr>
              <p:nvPr/>
            </p:nvSpPr>
            <p:spPr bwMode="auto">
              <a:xfrm>
                <a:off x="8154988" y="1208088"/>
                <a:ext cx="185738" cy="223838"/>
              </a:xfrm>
              <a:custGeom>
                <a:avLst/>
                <a:gdLst>
                  <a:gd name="T0" fmla="*/ 3429 w 5112"/>
                  <a:gd name="T1" fmla="*/ 6129 h 6162"/>
                  <a:gd name="T2" fmla="*/ 2651 w 5112"/>
                  <a:gd name="T3" fmla="*/ 5408 h 6162"/>
                  <a:gd name="T4" fmla="*/ 1935 w 5112"/>
                  <a:gd name="T5" fmla="*/ 5817 h 6162"/>
                  <a:gd name="T6" fmla="*/ 1837 w 5112"/>
                  <a:gd name="T7" fmla="*/ 5904 h 6162"/>
                  <a:gd name="T8" fmla="*/ 1530 w 5112"/>
                  <a:gd name="T9" fmla="*/ 5405 h 6162"/>
                  <a:gd name="T10" fmla="*/ 1185 w 5112"/>
                  <a:gd name="T11" fmla="*/ 5335 h 6162"/>
                  <a:gd name="T12" fmla="*/ 1631 w 5112"/>
                  <a:gd name="T13" fmla="*/ 5232 h 6162"/>
                  <a:gd name="T14" fmla="*/ 2095 w 5112"/>
                  <a:gd name="T15" fmla="*/ 5260 h 6162"/>
                  <a:gd name="T16" fmla="*/ 3234 w 5112"/>
                  <a:gd name="T17" fmla="*/ 5603 h 6162"/>
                  <a:gd name="T18" fmla="*/ 3857 w 5112"/>
                  <a:gd name="T19" fmla="*/ 4191 h 6162"/>
                  <a:gd name="T20" fmla="*/ 3979 w 5112"/>
                  <a:gd name="T21" fmla="*/ 3801 h 6162"/>
                  <a:gd name="T22" fmla="*/ 4357 w 5112"/>
                  <a:gd name="T23" fmla="*/ 2407 h 6162"/>
                  <a:gd name="T24" fmla="*/ 3221 w 5112"/>
                  <a:gd name="T25" fmla="*/ 1564 h 6162"/>
                  <a:gd name="T26" fmla="*/ 2139 w 5112"/>
                  <a:gd name="T27" fmla="*/ 1292 h 6162"/>
                  <a:gd name="T28" fmla="*/ 1542 w 5112"/>
                  <a:gd name="T29" fmla="*/ 775 h 6162"/>
                  <a:gd name="T30" fmla="*/ 355 w 5112"/>
                  <a:gd name="T31" fmla="*/ 1585 h 6162"/>
                  <a:gd name="T32" fmla="*/ 249 w 5112"/>
                  <a:gd name="T33" fmla="*/ 2165 h 6162"/>
                  <a:gd name="T34" fmla="*/ 36 w 5112"/>
                  <a:gd name="T35" fmla="*/ 1352 h 6162"/>
                  <a:gd name="T36" fmla="*/ 185 w 5112"/>
                  <a:gd name="T37" fmla="*/ 1220 h 6162"/>
                  <a:gd name="T38" fmla="*/ 1344 w 5112"/>
                  <a:gd name="T39" fmla="*/ 740 h 6162"/>
                  <a:gd name="T40" fmla="*/ 1361 w 5112"/>
                  <a:gd name="T41" fmla="*/ 122 h 6162"/>
                  <a:gd name="T42" fmla="*/ 1559 w 5112"/>
                  <a:gd name="T43" fmla="*/ 93 h 6162"/>
                  <a:gd name="T44" fmla="*/ 2208 w 5112"/>
                  <a:gd name="T45" fmla="*/ 1104 h 6162"/>
                  <a:gd name="T46" fmla="*/ 3483 w 5112"/>
                  <a:gd name="T47" fmla="*/ 652 h 6162"/>
                  <a:gd name="T48" fmla="*/ 3410 w 5112"/>
                  <a:gd name="T49" fmla="*/ 1499 h 6162"/>
                  <a:gd name="T50" fmla="*/ 4931 w 5112"/>
                  <a:gd name="T51" fmla="*/ 2078 h 6162"/>
                  <a:gd name="T52" fmla="*/ 5092 w 5112"/>
                  <a:gd name="T53" fmla="*/ 2125 h 6162"/>
                  <a:gd name="T54" fmla="*/ 5001 w 5112"/>
                  <a:gd name="T55" fmla="*/ 2265 h 6162"/>
                  <a:gd name="T56" fmla="*/ 4154 w 5112"/>
                  <a:gd name="T57" fmla="*/ 3703 h 6162"/>
                  <a:gd name="T58" fmla="*/ 4571 w 5112"/>
                  <a:gd name="T59" fmla="*/ 4167 h 6162"/>
                  <a:gd name="T60" fmla="*/ 4523 w 5112"/>
                  <a:gd name="T61" fmla="*/ 4360 h 6162"/>
                  <a:gd name="T62" fmla="*/ 3463 w 5112"/>
                  <a:gd name="T63" fmla="*/ 4744 h 6162"/>
                  <a:gd name="T64" fmla="*/ 3596 w 5112"/>
                  <a:gd name="T65" fmla="*/ 6024 h 6162"/>
                  <a:gd name="T66" fmla="*/ 3504 w 5112"/>
                  <a:gd name="T67" fmla="*/ 6162 h 6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12" h="6162">
                    <a:moveTo>
                      <a:pt x="3504" y="6162"/>
                    </a:moveTo>
                    <a:cubicBezTo>
                      <a:pt x="3476" y="6162"/>
                      <a:pt x="3448" y="6151"/>
                      <a:pt x="3429" y="6129"/>
                    </a:cubicBezTo>
                    <a:cubicBezTo>
                      <a:pt x="3368" y="6061"/>
                      <a:pt x="3314" y="5998"/>
                      <a:pt x="3262" y="5937"/>
                    </a:cubicBezTo>
                    <a:cubicBezTo>
                      <a:pt x="3067" y="5708"/>
                      <a:pt x="2927" y="5544"/>
                      <a:pt x="2651" y="5408"/>
                    </a:cubicBezTo>
                    <a:cubicBezTo>
                      <a:pt x="2546" y="5356"/>
                      <a:pt x="2353" y="5348"/>
                      <a:pt x="2190" y="5437"/>
                    </a:cubicBezTo>
                    <a:cubicBezTo>
                      <a:pt x="2089" y="5490"/>
                      <a:pt x="1963" y="5600"/>
                      <a:pt x="1935" y="5817"/>
                    </a:cubicBezTo>
                    <a:cubicBezTo>
                      <a:pt x="1929" y="5866"/>
                      <a:pt x="1887" y="5903"/>
                      <a:pt x="1837" y="5904"/>
                    </a:cubicBezTo>
                    <a:lnTo>
                      <a:pt x="1837" y="5904"/>
                    </a:lnTo>
                    <a:cubicBezTo>
                      <a:pt x="1787" y="5904"/>
                      <a:pt x="1745" y="5868"/>
                      <a:pt x="1738" y="5820"/>
                    </a:cubicBezTo>
                    <a:cubicBezTo>
                      <a:pt x="1704" y="5611"/>
                      <a:pt x="1631" y="5465"/>
                      <a:pt x="1530" y="5405"/>
                    </a:cubicBezTo>
                    <a:cubicBezTo>
                      <a:pt x="1467" y="5369"/>
                      <a:pt x="1394" y="5365"/>
                      <a:pt x="1313" y="5394"/>
                    </a:cubicBezTo>
                    <a:cubicBezTo>
                      <a:pt x="1262" y="5414"/>
                      <a:pt x="1204" y="5387"/>
                      <a:pt x="1185" y="5335"/>
                    </a:cubicBezTo>
                    <a:cubicBezTo>
                      <a:pt x="1166" y="5283"/>
                      <a:pt x="1192" y="5226"/>
                      <a:pt x="1244" y="5207"/>
                    </a:cubicBezTo>
                    <a:cubicBezTo>
                      <a:pt x="1382" y="5156"/>
                      <a:pt x="1516" y="5165"/>
                      <a:pt x="1631" y="5232"/>
                    </a:cubicBezTo>
                    <a:cubicBezTo>
                      <a:pt x="1700" y="5274"/>
                      <a:pt x="1783" y="5347"/>
                      <a:pt x="1847" y="5486"/>
                    </a:cubicBezTo>
                    <a:cubicBezTo>
                      <a:pt x="1909" y="5393"/>
                      <a:pt x="1992" y="5316"/>
                      <a:pt x="2095" y="5260"/>
                    </a:cubicBezTo>
                    <a:cubicBezTo>
                      <a:pt x="2298" y="5152"/>
                      <a:pt x="2558" y="5138"/>
                      <a:pt x="2740" y="5228"/>
                    </a:cubicBezTo>
                    <a:cubicBezTo>
                      <a:pt x="2957" y="5336"/>
                      <a:pt x="3100" y="5459"/>
                      <a:pt x="3234" y="5603"/>
                    </a:cubicBezTo>
                    <a:cubicBezTo>
                      <a:pt x="3153" y="5297"/>
                      <a:pt x="3117" y="4936"/>
                      <a:pt x="3291" y="4642"/>
                    </a:cubicBezTo>
                    <a:cubicBezTo>
                      <a:pt x="3412" y="4437"/>
                      <a:pt x="3612" y="4277"/>
                      <a:pt x="3857" y="4191"/>
                    </a:cubicBezTo>
                    <a:cubicBezTo>
                      <a:pt x="3967" y="4151"/>
                      <a:pt x="4083" y="4129"/>
                      <a:pt x="4197" y="4124"/>
                    </a:cubicBezTo>
                    <a:cubicBezTo>
                      <a:pt x="4107" y="4015"/>
                      <a:pt x="4031" y="3892"/>
                      <a:pt x="3979" y="3801"/>
                    </a:cubicBezTo>
                    <a:cubicBezTo>
                      <a:pt x="3725" y="3347"/>
                      <a:pt x="3848" y="2787"/>
                      <a:pt x="4272" y="2470"/>
                    </a:cubicBezTo>
                    <a:cubicBezTo>
                      <a:pt x="4291" y="2455"/>
                      <a:pt x="4320" y="2433"/>
                      <a:pt x="4357" y="2407"/>
                    </a:cubicBezTo>
                    <a:cubicBezTo>
                      <a:pt x="4117" y="2413"/>
                      <a:pt x="3869" y="2355"/>
                      <a:pt x="3632" y="2177"/>
                    </a:cubicBezTo>
                    <a:cubicBezTo>
                      <a:pt x="3465" y="2051"/>
                      <a:pt x="3280" y="1735"/>
                      <a:pt x="3221" y="1564"/>
                    </a:cubicBezTo>
                    <a:cubicBezTo>
                      <a:pt x="3166" y="1406"/>
                      <a:pt x="3157" y="1215"/>
                      <a:pt x="3189" y="1037"/>
                    </a:cubicBezTo>
                    <a:cubicBezTo>
                      <a:pt x="2788" y="1324"/>
                      <a:pt x="2449" y="1404"/>
                      <a:pt x="2139" y="1292"/>
                    </a:cubicBezTo>
                    <a:cubicBezTo>
                      <a:pt x="1927" y="1214"/>
                      <a:pt x="1709" y="941"/>
                      <a:pt x="1556" y="656"/>
                    </a:cubicBezTo>
                    <a:cubicBezTo>
                      <a:pt x="1552" y="703"/>
                      <a:pt x="1547" y="745"/>
                      <a:pt x="1542" y="775"/>
                    </a:cubicBezTo>
                    <a:cubicBezTo>
                      <a:pt x="1487" y="1072"/>
                      <a:pt x="1395" y="1405"/>
                      <a:pt x="998" y="1598"/>
                    </a:cubicBezTo>
                    <a:cubicBezTo>
                      <a:pt x="783" y="1702"/>
                      <a:pt x="552" y="1675"/>
                      <a:pt x="355" y="1585"/>
                    </a:cubicBezTo>
                    <a:cubicBezTo>
                      <a:pt x="394" y="1757"/>
                      <a:pt x="393" y="1942"/>
                      <a:pt x="366" y="2086"/>
                    </a:cubicBezTo>
                    <a:cubicBezTo>
                      <a:pt x="355" y="2140"/>
                      <a:pt x="304" y="2176"/>
                      <a:pt x="249" y="2165"/>
                    </a:cubicBezTo>
                    <a:cubicBezTo>
                      <a:pt x="195" y="2156"/>
                      <a:pt x="159" y="2103"/>
                      <a:pt x="169" y="2049"/>
                    </a:cubicBezTo>
                    <a:cubicBezTo>
                      <a:pt x="210" y="1830"/>
                      <a:pt x="178" y="1521"/>
                      <a:pt x="36" y="1352"/>
                    </a:cubicBezTo>
                    <a:cubicBezTo>
                      <a:pt x="0" y="1311"/>
                      <a:pt x="5" y="1250"/>
                      <a:pt x="45" y="1213"/>
                    </a:cubicBezTo>
                    <a:cubicBezTo>
                      <a:pt x="87" y="1178"/>
                      <a:pt x="148" y="1180"/>
                      <a:pt x="185" y="1220"/>
                    </a:cubicBezTo>
                    <a:cubicBezTo>
                      <a:pt x="354" y="1402"/>
                      <a:pt x="653" y="1542"/>
                      <a:pt x="910" y="1418"/>
                    </a:cubicBezTo>
                    <a:cubicBezTo>
                      <a:pt x="1194" y="1279"/>
                      <a:pt x="1285" y="1064"/>
                      <a:pt x="1344" y="740"/>
                    </a:cubicBezTo>
                    <a:cubicBezTo>
                      <a:pt x="1368" y="609"/>
                      <a:pt x="1382" y="261"/>
                      <a:pt x="1361" y="122"/>
                    </a:cubicBezTo>
                    <a:lnTo>
                      <a:pt x="1361" y="122"/>
                    </a:lnTo>
                    <a:cubicBezTo>
                      <a:pt x="1353" y="67"/>
                      <a:pt x="1391" y="16"/>
                      <a:pt x="1446" y="8"/>
                    </a:cubicBezTo>
                    <a:cubicBezTo>
                      <a:pt x="1501" y="0"/>
                      <a:pt x="1551" y="38"/>
                      <a:pt x="1559" y="93"/>
                    </a:cubicBezTo>
                    <a:lnTo>
                      <a:pt x="1559" y="93"/>
                    </a:lnTo>
                    <a:cubicBezTo>
                      <a:pt x="1602" y="393"/>
                      <a:pt x="1939" y="1006"/>
                      <a:pt x="2208" y="1104"/>
                    </a:cubicBezTo>
                    <a:cubicBezTo>
                      <a:pt x="2513" y="1215"/>
                      <a:pt x="2876" y="1072"/>
                      <a:pt x="3349" y="652"/>
                    </a:cubicBezTo>
                    <a:cubicBezTo>
                      <a:pt x="3388" y="618"/>
                      <a:pt x="3445" y="618"/>
                      <a:pt x="3483" y="652"/>
                    </a:cubicBezTo>
                    <a:cubicBezTo>
                      <a:pt x="3521" y="686"/>
                      <a:pt x="3527" y="743"/>
                      <a:pt x="3497" y="784"/>
                    </a:cubicBezTo>
                    <a:cubicBezTo>
                      <a:pt x="3387" y="941"/>
                      <a:pt x="3323" y="1251"/>
                      <a:pt x="3410" y="1499"/>
                    </a:cubicBezTo>
                    <a:cubicBezTo>
                      <a:pt x="3459" y="1638"/>
                      <a:pt x="3620" y="1917"/>
                      <a:pt x="3752" y="2018"/>
                    </a:cubicBezTo>
                    <a:cubicBezTo>
                      <a:pt x="4061" y="2250"/>
                      <a:pt x="4414" y="2269"/>
                      <a:pt x="4931" y="2078"/>
                    </a:cubicBezTo>
                    <a:cubicBezTo>
                      <a:pt x="4943" y="2073"/>
                      <a:pt x="4954" y="2069"/>
                      <a:pt x="4966" y="2066"/>
                    </a:cubicBezTo>
                    <a:cubicBezTo>
                      <a:pt x="5017" y="2047"/>
                      <a:pt x="5073" y="2073"/>
                      <a:pt x="5092" y="2125"/>
                    </a:cubicBezTo>
                    <a:cubicBezTo>
                      <a:pt x="5112" y="2177"/>
                      <a:pt x="5086" y="2234"/>
                      <a:pt x="5034" y="2253"/>
                    </a:cubicBezTo>
                    <a:cubicBezTo>
                      <a:pt x="5023" y="2257"/>
                      <a:pt x="5012" y="2261"/>
                      <a:pt x="5001" y="2265"/>
                    </a:cubicBezTo>
                    <a:cubicBezTo>
                      <a:pt x="4753" y="2363"/>
                      <a:pt x="4451" y="2585"/>
                      <a:pt x="4392" y="2629"/>
                    </a:cubicBezTo>
                    <a:cubicBezTo>
                      <a:pt x="4049" y="2886"/>
                      <a:pt x="3949" y="3338"/>
                      <a:pt x="4154" y="3703"/>
                    </a:cubicBezTo>
                    <a:cubicBezTo>
                      <a:pt x="4288" y="3942"/>
                      <a:pt x="4441" y="4120"/>
                      <a:pt x="4543" y="4158"/>
                    </a:cubicBezTo>
                    <a:cubicBezTo>
                      <a:pt x="4553" y="4161"/>
                      <a:pt x="4563" y="4164"/>
                      <a:pt x="4571" y="4167"/>
                    </a:cubicBezTo>
                    <a:cubicBezTo>
                      <a:pt x="4623" y="4182"/>
                      <a:pt x="4653" y="4235"/>
                      <a:pt x="4640" y="4287"/>
                    </a:cubicBezTo>
                    <a:cubicBezTo>
                      <a:pt x="4627" y="4339"/>
                      <a:pt x="4575" y="4371"/>
                      <a:pt x="4523" y="4360"/>
                    </a:cubicBezTo>
                    <a:cubicBezTo>
                      <a:pt x="4511" y="4358"/>
                      <a:pt x="4498" y="4354"/>
                      <a:pt x="4486" y="4350"/>
                    </a:cubicBezTo>
                    <a:cubicBezTo>
                      <a:pt x="4099" y="4249"/>
                      <a:pt x="3655" y="4419"/>
                      <a:pt x="3463" y="4744"/>
                    </a:cubicBezTo>
                    <a:cubicBezTo>
                      <a:pt x="3233" y="5132"/>
                      <a:pt x="3463" y="5696"/>
                      <a:pt x="3585" y="5998"/>
                    </a:cubicBezTo>
                    <a:lnTo>
                      <a:pt x="3596" y="6024"/>
                    </a:lnTo>
                    <a:cubicBezTo>
                      <a:pt x="3614" y="6069"/>
                      <a:pt x="3598" y="6121"/>
                      <a:pt x="3557" y="6147"/>
                    </a:cubicBezTo>
                    <a:cubicBezTo>
                      <a:pt x="3540" y="6158"/>
                      <a:pt x="3522" y="6162"/>
                      <a:pt x="3504" y="6162"/>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1" name="Freeform 1990">
                <a:extLst>
                  <a:ext uri="{FF2B5EF4-FFF2-40B4-BE49-F238E27FC236}">
                    <a16:creationId xmlns:a16="http://schemas.microsoft.com/office/drawing/2014/main" id="{6B3E1B7D-31E7-A7E2-0A3F-FD434FC07788}"/>
                  </a:ext>
                </a:extLst>
              </p:cNvPr>
              <p:cNvSpPr>
                <a:spLocks/>
              </p:cNvSpPr>
              <p:nvPr/>
            </p:nvSpPr>
            <p:spPr bwMode="auto">
              <a:xfrm>
                <a:off x="8294688" y="1250950"/>
                <a:ext cx="20638" cy="19050"/>
              </a:xfrm>
              <a:custGeom>
                <a:avLst/>
                <a:gdLst>
                  <a:gd name="T0" fmla="*/ 110 w 539"/>
                  <a:gd name="T1" fmla="*/ 539 h 539"/>
                  <a:gd name="T2" fmla="*/ 40 w 539"/>
                  <a:gd name="T3" fmla="*/ 511 h 539"/>
                  <a:gd name="T4" fmla="*/ 38 w 539"/>
                  <a:gd name="T5" fmla="*/ 370 h 539"/>
                  <a:gd name="T6" fmla="*/ 357 w 539"/>
                  <a:gd name="T7" fmla="*/ 41 h 539"/>
                  <a:gd name="T8" fmla="*/ 498 w 539"/>
                  <a:gd name="T9" fmla="*/ 38 h 539"/>
                  <a:gd name="T10" fmla="*/ 501 w 539"/>
                  <a:gd name="T11" fmla="*/ 180 h 539"/>
                  <a:gd name="T12" fmla="*/ 182 w 539"/>
                  <a:gd name="T13" fmla="*/ 509 h 539"/>
                  <a:gd name="T14" fmla="*/ 110 w 539"/>
                  <a:gd name="T15" fmla="*/ 539 h 5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 h="539">
                    <a:moveTo>
                      <a:pt x="110" y="539"/>
                    </a:moveTo>
                    <a:cubicBezTo>
                      <a:pt x="85" y="539"/>
                      <a:pt x="60" y="530"/>
                      <a:pt x="40" y="511"/>
                    </a:cubicBezTo>
                    <a:cubicBezTo>
                      <a:pt x="1" y="473"/>
                      <a:pt x="0" y="410"/>
                      <a:pt x="38" y="370"/>
                    </a:cubicBezTo>
                    <a:lnTo>
                      <a:pt x="357" y="41"/>
                    </a:lnTo>
                    <a:cubicBezTo>
                      <a:pt x="396" y="1"/>
                      <a:pt x="459" y="0"/>
                      <a:pt x="498" y="38"/>
                    </a:cubicBezTo>
                    <a:cubicBezTo>
                      <a:pt x="538" y="77"/>
                      <a:pt x="539" y="140"/>
                      <a:pt x="501" y="180"/>
                    </a:cubicBezTo>
                    <a:lnTo>
                      <a:pt x="182" y="509"/>
                    </a:lnTo>
                    <a:cubicBezTo>
                      <a:pt x="163" y="529"/>
                      <a:pt x="137" y="539"/>
                      <a:pt x="110" y="539"/>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2" name="Freeform 1991">
                <a:extLst>
                  <a:ext uri="{FF2B5EF4-FFF2-40B4-BE49-F238E27FC236}">
                    <a16:creationId xmlns:a16="http://schemas.microsoft.com/office/drawing/2014/main" id="{E34183EE-3C32-0103-41BC-084C7331121D}"/>
                  </a:ext>
                </a:extLst>
              </p:cNvPr>
              <p:cNvSpPr>
                <a:spLocks/>
              </p:cNvSpPr>
              <p:nvPr/>
            </p:nvSpPr>
            <p:spPr bwMode="auto">
              <a:xfrm>
                <a:off x="8239125" y="1212850"/>
                <a:ext cx="14288" cy="22225"/>
              </a:xfrm>
              <a:custGeom>
                <a:avLst/>
                <a:gdLst>
                  <a:gd name="T0" fmla="*/ 113 w 394"/>
                  <a:gd name="T1" fmla="*/ 639 h 639"/>
                  <a:gd name="T2" fmla="*/ 77 w 394"/>
                  <a:gd name="T3" fmla="*/ 633 h 639"/>
                  <a:gd name="T4" fmla="*/ 20 w 394"/>
                  <a:gd name="T5" fmla="*/ 503 h 639"/>
                  <a:gd name="T6" fmla="*/ 187 w 394"/>
                  <a:gd name="T7" fmla="*/ 77 h 639"/>
                  <a:gd name="T8" fmla="*/ 318 w 394"/>
                  <a:gd name="T9" fmla="*/ 20 h 639"/>
                  <a:gd name="T10" fmla="*/ 374 w 394"/>
                  <a:gd name="T11" fmla="*/ 149 h 639"/>
                  <a:gd name="T12" fmla="*/ 206 w 394"/>
                  <a:gd name="T13" fmla="*/ 577 h 639"/>
                  <a:gd name="T14" fmla="*/ 113 w 394"/>
                  <a:gd name="T15" fmla="*/ 639 h 6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639">
                    <a:moveTo>
                      <a:pt x="113" y="639"/>
                    </a:moveTo>
                    <a:cubicBezTo>
                      <a:pt x="101" y="639"/>
                      <a:pt x="88" y="637"/>
                      <a:pt x="77" y="633"/>
                    </a:cubicBezTo>
                    <a:cubicBezTo>
                      <a:pt x="26" y="613"/>
                      <a:pt x="0" y="555"/>
                      <a:pt x="20" y="503"/>
                    </a:cubicBezTo>
                    <a:lnTo>
                      <a:pt x="187" y="77"/>
                    </a:lnTo>
                    <a:cubicBezTo>
                      <a:pt x="208" y="26"/>
                      <a:pt x="266" y="0"/>
                      <a:pt x="318" y="20"/>
                    </a:cubicBezTo>
                    <a:cubicBezTo>
                      <a:pt x="369" y="40"/>
                      <a:pt x="394" y="99"/>
                      <a:pt x="374" y="149"/>
                    </a:cubicBezTo>
                    <a:lnTo>
                      <a:pt x="206" y="577"/>
                    </a:lnTo>
                    <a:cubicBezTo>
                      <a:pt x="191" y="616"/>
                      <a:pt x="153" y="639"/>
                      <a:pt x="113" y="639"/>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3" name="Freeform 1992">
                <a:extLst>
                  <a:ext uri="{FF2B5EF4-FFF2-40B4-BE49-F238E27FC236}">
                    <a16:creationId xmlns:a16="http://schemas.microsoft.com/office/drawing/2014/main" id="{15C868C5-CE3F-F253-F704-A600A4B9F178}"/>
                  </a:ext>
                </a:extLst>
              </p:cNvPr>
              <p:cNvSpPr>
                <a:spLocks/>
              </p:cNvSpPr>
              <p:nvPr/>
            </p:nvSpPr>
            <p:spPr bwMode="auto">
              <a:xfrm>
                <a:off x="8174038" y="1228725"/>
                <a:ext cx="11113" cy="15875"/>
              </a:xfrm>
              <a:custGeom>
                <a:avLst/>
                <a:gdLst>
                  <a:gd name="T0" fmla="*/ 190 w 303"/>
                  <a:gd name="T1" fmla="*/ 441 h 441"/>
                  <a:gd name="T2" fmla="*/ 96 w 303"/>
                  <a:gd name="T3" fmla="*/ 374 h 441"/>
                  <a:gd name="T4" fmla="*/ 18 w 303"/>
                  <a:gd name="T5" fmla="*/ 145 h 441"/>
                  <a:gd name="T6" fmla="*/ 79 w 303"/>
                  <a:gd name="T7" fmla="*/ 18 h 441"/>
                  <a:gd name="T8" fmla="*/ 207 w 303"/>
                  <a:gd name="T9" fmla="*/ 80 h 441"/>
                  <a:gd name="T10" fmla="*/ 285 w 303"/>
                  <a:gd name="T11" fmla="*/ 308 h 441"/>
                  <a:gd name="T12" fmla="*/ 224 w 303"/>
                  <a:gd name="T13" fmla="*/ 435 h 441"/>
                  <a:gd name="T14" fmla="*/ 190 w 303"/>
                  <a:gd name="T15" fmla="*/ 441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441">
                    <a:moveTo>
                      <a:pt x="190" y="441"/>
                    </a:moveTo>
                    <a:cubicBezTo>
                      <a:pt x="150" y="441"/>
                      <a:pt x="111" y="415"/>
                      <a:pt x="96" y="374"/>
                    </a:cubicBezTo>
                    <a:lnTo>
                      <a:pt x="18" y="145"/>
                    </a:lnTo>
                    <a:cubicBezTo>
                      <a:pt x="0" y="93"/>
                      <a:pt x="27" y="36"/>
                      <a:pt x="79" y="18"/>
                    </a:cubicBezTo>
                    <a:cubicBezTo>
                      <a:pt x="132" y="0"/>
                      <a:pt x="189" y="27"/>
                      <a:pt x="207" y="80"/>
                    </a:cubicBezTo>
                    <a:lnTo>
                      <a:pt x="285" y="308"/>
                    </a:lnTo>
                    <a:cubicBezTo>
                      <a:pt x="303" y="360"/>
                      <a:pt x="276" y="417"/>
                      <a:pt x="224" y="435"/>
                    </a:cubicBezTo>
                    <a:cubicBezTo>
                      <a:pt x="212" y="439"/>
                      <a:pt x="202" y="441"/>
                      <a:pt x="190" y="441"/>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4" name="Freeform 1993">
                <a:extLst>
                  <a:ext uri="{FF2B5EF4-FFF2-40B4-BE49-F238E27FC236}">
                    <a16:creationId xmlns:a16="http://schemas.microsoft.com/office/drawing/2014/main" id="{5A65E589-5452-9046-5CA6-069B32ACFF91}"/>
                  </a:ext>
                </a:extLst>
              </p:cNvPr>
              <p:cNvSpPr>
                <a:spLocks/>
              </p:cNvSpPr>
              <p:nvPr/>
            </p:nvSpPr>
            <p:spPr bwMode="auto">
              <a:xfrm>
                <a:off x="8240713" y="1417638"/>
                <a:ext cx="12700" cy="20638"/>
              </a:xfrm>
              <a:custGeom>
                <a:avLst/>
                <a:gdLst>
                  <a:gd name="T0" fmla="*/ 230 w 343"/>
                  <a:gd name="T1" fmla="*/ 556 h 556"/>
                  <a:gd name="T2" fmla="*/ 136 w 343"/>
                  <a:gd name="T3" fmla="*/ 487 h 556"/>
                  <a:gd name="T4" fmla="*/ 18 w 343"/>
                  <a:gd name="T5" fmla="*/ 145 h 556"/>
                  <a:gd name="T6" fmla="*/ 79 w 343"/>
                  <a:gd name="T7" fmla="*/ 18 h 556"/>
                  <a:gd name="T8" fmla="*/ 207 w 343"/>
                  <a:gd name="T9" fmla="*/ 80 h 556"/>
                  <a:gd name="T10" fmla="*/ 325 w 343"/>
                  <a:gd name="T11" fmla="*/ 422 h 556"/>
                  <a:gd name="T12" fmla="*/ 262 w 343"/>
                  <a:gd name="T13" fmla="*/ 550 h 556"/>
                  <a:gd name="T14" fmla="*/ 230 w 343"/>
                  <a:gd name="T15" fmla="*/ 556 h 5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3" h="556">
                    <a:moveTo>
                      <a:pt x="230" y="556"/>
                    </a:moveTo>
                    <a:cubicBezTo>
                      <a:pt x="189" y="556"/>
                      <a:pt x="150" y="529"/>
                      <a:pt x="136" y="487"/>
                    </a:cubicBezTo>
                    <a:lnTo>
                      <a:pt x="18" y="145"/>
                    </a:lnTo>
                    <a:cubicBezTo>
                      <a:pt x="0" y="93"/>
                      <a:pt x="27" y="36"/>
                      <a:pt x="79" y="18"/>
                    </a:cubicBezTo>
                    <a:cubicBezTo>
                      <a:pt x="131" y="0"/>
                      <a:pt x="189" y="27"/>
                      <a:pt x="207" y="80"/>
                    </a:cubicBezTo>
                    <a:lnTo>
                      <a:pt x="325" y="422"/>
                    </a:lnTo>
                    <a:cubicBezTo>
                      <a:pt x="343" y="475"/>
                      <a:pt x="315" y="532"/>
                      <a:pt x="262" y="550"/>
                    </a:cubicBezTo>
                    <a:cubicBezTo>
                      <a:pt x="252" y="554"/>
                      <a:pt x="241" y="556"/>
                      <a:pt x="230" y="556"/>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5" name="Freeform 1994">
                <a:extLst>
                  <a:ext uri="{FF2B5EF4-FFF2-40B4-BE49-F238E27FC236}">
                    <a16:creationId xmlns:a16="http://schemas.microsoft.com/office/drawing/2014/main" id="{8E348D10-CCF3-24EB-63F8-5265D92D7307}"/>
                  </a:ext>
                </a:extLst>
              </p:cNvPr>
              <p:cNvSpPr>
                <a:spLocks/>
              </p:cNvSpPr>
              <p:nvPr/>
            </p:nvSpPr>
            <p:spPr bwMode="auto">
              <a:xfrm>
                <a:off x="8291513" y="1384300"/>
                <a:ext cx="20638" cy="17463"/>
              </a:xfrm>
              <a:custGeom>
                <a:avLst/>
                <a:gdLst>
                  <a:gd name="T0" fmla="*/ 438 w 552"/>
                  <a:gd name="T1" fmla="*/ 444 h 444"/>
                  <a:gd name="T2" fmla="*/ 381 w 552"/>
                  <a:gd name="T3" fmla="*/ 426 h 444"/>
                  <a:gd name="T4" fmla="*/ 55 w 552"/>
                  <a:gd name="T5" fmla="*/ 195 h 444"/>
                  <a:gd name="T6" fmla="*/ 32 w 552"/>
                  <a:gd name="T7" fmla="*/ 56 h 444"/>
                  <a:gd name="T8" fmla="*/ 171 w 552"/>
                  <a:gd name="T9" fmla="*/ 32 h 444"/>
                  <a:gd name="T10" fmla="*/ 497 w 552"/>
                  <a:gd name="T11" fmla="*/ 262 h 444"/>
                  <a:gd name="T12" fmla="*/ 521 w 552"/>
                  <a:gd name="T13" fmla="*/ 402 h 444"/>
                  <a:gd name="T14" fmla="*/ 438 w 552"/>
                  <a:gd name="T15" fmla="*/ 444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44">
                    <a:moveTo>
                      <a:pt x="438" y="444"/>
                    </a:moveTo>
                    <a:cubicBezTo>
                      <a:pt x="418" y="444"/>
                      <a:pt x="398" y="438"/>
                      <a:pt x="381" y="426"/>
                    </a:cubicBezTo>
                    <a:lnTo>
                      <a:pt x="55" y="195"/>
                    </a:lnTo>
                    <a:cubicBezTo>
                      <a:pt x="11" y="163"/>
                      <a:pt x="0" y="101"/>
                      <a:pt x="32" y="56"/>
                    </a:cubicBezTo>
                    <a:cubicBezTo>
                      <a:pt x="64" y="11"/>
                      <a:pt x="126" y="0"/>
                      <a:pt x="171" y="32"/>
                    </a:cubicBezTo>
                    <a:lnTo>
                      <a:pt x="497" y="262"/>
                    </a:lnTo>
                    <a:cubicBezTo>
                      <a:pt x="542" y="294"/>
                      <a:pt x="552" y="356"/>
                      <a:pt x="521" y="402"/>
                    </a:cubicBezTo>
                    <a:cubicBezTo>
                      <a:pt x="501" y="428"/>
                      <a:pt x="470" y="444"/>
                      <a:pt x="438" y="444"/>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6" name="Freeform 1995">
                <a:extLst>
                  <a:ext uri="{FF2B5EF4-FFF2-40B4-BE49-F238E27FC236}">
                    <a16:creationId xmlns:a16="http://schemas.microsoft.com/office/drawing/2014/main" id="{7715DC14-0845-1841-B874-AE9BB36A24CB}"/>
                  </a:ext>
                </a:extLst>
              </p:cNvPr>
              <p:cNvSpPr>
                <a:spLocks/>
              </p:cNvSpPr>
              <p:nvPr/>
            </p:nvSpPr>
            <p:spPr bwMode="auto">
              <a:xfrm>
                <a:off x="8313738" y="1323975"/>
                <a:ext cx="26988" cy="11113"/>
              </a:xfrm>
              <a:custGeom>
                <a:avLst/>
                <a:gdLst>
                  <a:gd name="T0" fmla="*/ 626 w 733"/>
                  <a:gd name="T1" fmla="*/ 274 h 274"/>
                  <a:gd name="T2" fmla="*/ 614 w 733"/>
                  <a:gd name="T3" fmla="*/ 274 h 274"/>
                  <a:gd name="T4" fmla="*/ 93 w 733"/>
                  <a:gd name="T5" fmla="*/ 205 h 274"/>
                  <a:gd name="T6" fmla="*/ 7 w 733"/>
                  <a:gd name="T7" fmla="*/ 93 h 274"/>
                  <a:gd name="T8" fmla="*/ 120 w 733"/>
                  <a:gd name="T9" fmla="*/ 7 h 274"/>
                  <a:gd name="T10" fmla="*/ 640 w 733"/>
                  <a:gd name="T11" fmla="*/ 76 h 274"/>
                  <a:gd name="T12" fmla="*/ 726 w 733"/>
                  <a:gd name="T13" fmla="*/ 188 h 274"/>
                  <a:gd name="T14" fmla="*/ 626 w 733"/>
                  <a:gd name="T15" fmla="*/ 274 h 2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3" h="274">
                    <a:moveTo>
                      <a:pt x="626" y="274"/>
                    </a:moveTo>
                    <a:lnTo>
                      <a:pt x="614" y="274"/>
                    </a:lnTo>
                    <a:lnTo>
                      <a:pt x="93" y="205"/>
                    </a:lnTo>
                    <a:cubicBezTo>
                      <a:pt x="38" y="199"/>
                      <a:pt x="0" y="148"/>
                      <a:pt x="7" y="93"/>
                    </a:cubicBezTo>
                    <a:cubicBezTo>
                      <a:pt x="14" y="38"/>
                      <a:pt x="65" y="0"/>
                      <a:pt x="120" y="7"/>
                    </a:cubicBezTo>
                    <a:lnTo>
                      <a:pt x="640" y="76"/>
                    </a:lnTo>
                    <a:cubicBezTo>
                      <a:pt x="695" y="82"/>
                      <a:pt x="733" y="133"/>
                      <a:pt x="726" y="188"/>
                    </a:cubicBezTo>
                    <a:cubicBezTo>
                      <a:pt x="719" y="238"/>
                      <a:pt x="676" y="274"/>
                      <a:pt x="626" y="274"/>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7" name="Freeform 1996">
                <a:extLst>
                  <a:ext uri="{FF2B5EF4-FFF2-40B4-BE49-F238E27FC236}">
                    <a16:creationId xmlns:a16="http://schemas.microsoft.com/office/drawing/2014/main" id="{5A9AC62F-E3DA-EEB3-0557-736C60A79F5E}"/>
                  </a:ext>
                </a:extLst>
              </p:cNvPr>
              <p:cNvSpPr>
                <a:spLocks/>
              </p:cNvSpPr>
              <p:nvPr/>
            </p:nvSpPr>
            <p:spPr bwMode="auto">
              <a:xfrm>
                <a:off x="8285163" y="1217613"/>
                <a:ext cx="9525" cy="7938"/>
              </a:xfrm>
              <a:custGeom>
                <a:avLst/>
                <a:gdLst>
                  <a:gd name="T0" fmla="*/ 109 w 233"/>
                  <a:gd name="T1" fmla="*/ 245 h 245"/>
                  <a:gd name="T2" fmla="*/ 46 w 233"/>
                  <a:gd name="T3" fmla="*/ 222 h 245"/>
                  <a:gd name="T4" fmla="*/ 11 w 233"/>
                  <a:gd name="T5" fmla="*/ 128 h 245"/>
                  <a:gd name="T6" fmla="*/ 89 w 233"/>
                  <a:gd name="T7" fmla="*/ 10 h 245"/>
                  <a:gd name="T8" fmla="*/ 203 w 233"/>
                  <a:gd name="T9" fmla="*/ 76 h 245"/>
                  <a:gd name="T10" fmla="*/ 187 w 233"/>
                  <a:gd name="T11" fmla="*/ 208 h 245"/>
                  <a:gd name="T12" fmla="*/ 109 w 233"/>
                  <a:gd name="T13" fmla="*/ 245 h 245"/>
                </a:gdLst>
                <a:ahLst/>
                <a:cxnLst>
                  <a:cxn ang="0">
                    <a:pos x="T0" y="T1"/>
                  </a:cxn>
                  <a:cxn ang="0">
                    <a:pos x="T2" y="T3"/>
                  </a:cxn>
                  <a:cxn ang="0">
                    <a:pos x="T4" y="T5"/>
                  </a:cxn>
                  <a:cxn ang="0">
                    <a:pos x="T6" y="T7"/>
                  </a:cxn>
                  <a:cxn ang="0">
                    <a:pos x="T8" y="T9"/>
                  </a:cxn>
                  <a:cxn ang="0">
                    <a:pos x="T10" y="T11"/>
                  </a:cxn>
                  <a:cxn ang="0">
                    <a:pos x="T12" y="T13"/>
                  </a:cxn>
                </a:cxnLst>
                <a:rect l="0" t="0" r="r" b="b"/>
                <a:pathLst>
                  <a:path w="233" h="245">
                    <a:moveTo>
                      <a:pt x="109" y="245"/>
                    </a:moveTo>
                    <a:cubicBezTo>
                      <a:pt x="87" y="245"/>
                      <a:pt x="64" y="237"/>
                      <a:pt x="46" y="222"/>
                    </a:cubicBezTo>
                    <a:cubicBezTo>
                      <a:pt x="16" y="198"/>
                      <a:pt x="4" y="162"/>
                      <a:pt x="11" y="128"/>
                    </a:cubicBezTo>
                    <a:cubicBezTo>
                      <a:pt x="0" y="74"/>
                      <a:pt x="35" y="21"/>
                      <a:pt x="89" y="10"/>
                    </a:cubicBezTo>
                    <a:cubicBezTo>
                      <a:pt x="139" y="0"/>
                      <a:pt x="188" y="29"/>
                      <a:pt x="203" y="76"/>
                    </a:cubicBezTo>
                    <a:cubicBezTo>
                      <a:pt x="219" y="103"/>
                      <a:pt x="233" y="150"/>
                      <a:pt x="187" y="208"/>
                    </a:cubicBezTo>
                    <a:cubicBezTo>
                      <a:pt x="167" y="232"/>
                      <a:pt x="138" y="245"/>
                      <a:pt x="109" y="245"/>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8" name="Freeform 1997">
                <a:extLst>
                  <a:ext uri="{FF2B5EF4-FFF2-40B4-BE49-F238E27FC236}">
                    <a16:creationId xmlns:a16="http://schemas.microsoft.com/office/drawing/2014/main" id="{1F6A6599-284A-74F7-A723-99C41B06EE7D}"/>
                  </a:ext>
                </a:extLst>
              </p:cNvPr>
              <p:cNvSpPr>
                <a:spLocks/>
              </p:cNvSpPr>
              <p:nvPr/>
            </p:nvSpPr>
            <p:spPr bwMode="auto">
              <a:xfrm>
                <a:off x="8331200" y="1365250"/>
                <a:ext cx="7938" cy="7938"/>
              </a:xfrm>
              <a:custGeom>
                <a:avLst/>
                <a:gdLst>
                  <a:gd name="T0" fmla="*/ 134 w 246"/>
                  <a:gd name="T1" fmla="*/ 209 h 209"/>
                  <a:gd name="T2" fmla="*/ 104 w 246"/>
                  <a:gd name="T3" fmla="*/ 204 h 209"/>
                  <a:gd name="T4" fmla="*/ 86 w 246"/>
                  <a:gd name="T5" fmla="*/ 198 h 209"/>
                  <a:gd name="T6" fmla="*/ 86 w 246"/>
                  <a:gd name="T7" fmla="*/ 198 h 209"/>
                  <a:gd name="T8" fmla="*/ 79 w 246"/>
                  <a:gd name="T9" fmla="*/ 196 h 209"/>
                  <a:gd name="T10" fmla="*/ 79 w 246"/>
                  <a:gd name="T11" fmla="*/ 195 h 209"/>
                  <a:gd name="T12" fmla="*/ 11 w 246"/>
                  <a:gd name="T13" fmla="*/ 85 h 209"/>
                  <a:gd name="T14" fmla="*/ 110 w 246"/>
                  <a:gd name="T15" fmla="*/ 0 h 209"/>
                  <a:gd name="T16" fmla="*/ 140 w 246"/>
                  <a:gd name="T17" fmla="*/ 5 h 209"/>
                  <a:gd name="T18" fmla="*/ 140 w 246"/>
                  <a:gd name="T19" fmla="*/ 5 h 209"/>
                  <a:gd name="T20" fmla="*/ 160 w 246"/>
                  <a:gd name="T21" fmla="*/ 12 h 209"/>
                  <a:gd name="T22" fmla="*/ 164 w 246"/>
                  <a:gd name="T23" fmla="*/ 13 h 209"/>
                  <a:gd name="T24" fmla="*/ 164 w 246"/>
                  <a:gd name="T25" fmla="*/ 13 h 209"/>
                  <a:gd name="T26" fmla="*/ 164 w 246"/>
                  <a:gd name="T27" fmla="*/ 13 h 209"/>
                  <a:gd name="T28" fmla="*/ 229 w 246"/>
                  <a:gd name="T29" fmla="*/ 139 h 209"/>
                  <a:gd name="T30" fmla="*/ 134 w 246"/>
                  <a:gd name="T3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09">
                    <a:moveTo>
                      <a:pt x="134" y="209"/>
                    </a:moveTo>
                    <a:cubicBezTo>
                      <a:pt x="124" y="209"/>
                      <a:pt x="114" y="207"/>
                      <a:pt x="104" y="204"/>
                    </a:cubicBezTo>
                    <a:lnTo>
                      <a:pt x="86" y="198"/>
                    </a:lnTo>
                    <a:lnTo>
                      <a:pt x="86" y="198"/>
                    </a:lnTo>
                    <a:lnTo>
                      <a:pt x="79" y="196"/>
                    </a:lnTo>
                    <a:lnTo>
                      <a:pt x="79" y="195"/>
                    </a:lnTo>
                    <a:cubicBezTo>
                      <a:pt x="0" y="167"/>
                      <a:pt x="10" y="94"/>
                      <a:pt x="11" y="85"/>
                    </a:cubicBezTo>
                    <a:cubicBezTo>
                      <a:pt x="19" y="37"/>
                      <a:pt x="61" y="0"/>
                      <a:pt x="110" y="0"/>
                    </a:cubicBezTo>
                    <a:cubicBezTo>
                      <a:pt x="120" y="0"/>
                      <a:pt x="125" y="1"/>
                      <a:pt x="140" y="5"/>
                    </a:cubicBezTo>
                    <a:lnTo>
                      <a:pt x="140" y="5"/>
                    </a:lnTo>
                    <a:lnTo>
                      <a:pt x="160" y="12"/>
                    </a:lnTo>
                    <a:cubicBezTo>
                      <a:pt x="162" y="12"/>
                      <a:pt x="162" y="13"/>
                      <a:pt x="164" y="13"/>
                    </a:cubicBezTo>
                    <a:lnTo>
                      <a:pt x="164" y="13"/>
                    </a:lnTo>
                    <a:lnTo>
                      <a:pt x="164" y="13"/>
                    </a:lnTo>
                    <a:cubicBezTo>
                      <a:pt x="217" y="30"/>
                      <a:pt x="246" y="87"/>
                      <a:pt x="229" y="139"/>
                    </a:cubicBezTo>
                    <a:cubicBezTo>
                      <a:pt x="215" y="181"/>
                      <a:pt x="176" y="209"/>
                      <a:pt x="134" y="209"/>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99" name="Freeform 1998">
                <a:extLst>
                  <a:ext uri="{FF2B5EF4-FFF2-40B4-BE49-F238E27FC236}">
                    <a16:creationId xmlns:a16="http://schemas.microsoft.com/office/drawing/2014/main" id="{455E9F10-3412-3347-B217-BCBD83FD0462}"/>
                  </a:ext>
                </a:extLst>
              </p:cNvPr>
              <p:cNvSpPr>
                <a:spLocks/>
              </p:cNvSpPr>
              <p:nvPr/>
            </p:nvSpPr>
            <p:spPr bwMode="auto">
              <a:xfrm>
                <a:off x="8343900" y="1277938"/>
                <a:ext cx="7938" cy="7938"/>
              </a:xfrm>
              <a:custGeom>
                <a:avLst/>
                <a:gdLst>
                  <a:gd name="T0" fmla="*/ 100 w 200"/>
                  <a:gd name="T1" fmla="*/ 200 h 200"/>
                  <a:gd name="T2" fmla="*/ 30 w 200"/>
                  <a:gd name="T3" fmla="*/ 172 h 200"/>
                  <a:gd name="T4" fmla="*/ 0 w 200"/>
                  <a:gd name="T5" fmla="*/ 100 h 200"/>
                  <a:gd name="T6" fmla="*/ 30 w 200"/>
                  <a:gd name="T7" fmla="*/ 30 h 200"/>
                  <a:gd name="T8" fmla="*/ 100 w 200"/>
                  <a:gd name="T9" fmla="*/ 0 h 200"/>
                  <a:gd name="T10" fmla="*/ 171 w 200"/>
                  <a:gd name="T11" fmla="*/ 30 h 200"/>
                  <a:gd name="T12" fmla="*/ 200 w 200"/>
                  <a:gd name="T13" fmla="*/ 100 h 200"/>
                  <a:gd name="T14" fmla="*/ 171 w 200"/>
                  <a:gd name="T15" fmla="*/ 172 h 200"/>
                  <a:gd name="T16" fmla="*/ 100 w 200"/>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200"/>
                    </a:moveTo>
                    <a:cubicBezTo>
                      <a:pt x="74" y="200"/>
                      <a:pt x="48" y="190"/>
                      <a:pt x="30" y="172"/>
                    </a:cubicBezTo>
                    <a:cubicBezTo>
                      <a:pt x="10" y="152"/>
                      <a:pt x="0" y="126"/>
                      <a:pt x="0" y="100"/>
                    </a:cubicBezTo>
                    <a:cubicBezTo>
                      <a:pt x="0" y="74"/>
                      <a:pt x="10" y="48"/>
                      <a:pt x="30" y="30"/>
                    </a:cubicBezTo>
                    <a:cubicBezTo>
                      <a:pt x="48" y="11"/>
                      <a:pt x="74" y="0"/>
                      <a:pt x="100" y="0"/>
                    </a:cubicBezTo>
                    <a:cubicBezTo>
                      <a:pt x="126" y="0"/>
                      <a:pt x="152" y="11"/>
                      <a:pt x="171" y="30"/>
                    </a:cubicBezTo>
                    <a:cubicBezTo>
                      <a:pt x="189" y="48"/>
                      <a:pt x="200" y="74"/>
                      <a:pt x="200" y="100"/>
                    </a:cubicBezTo>
                    <a:cubicBezTo>
                      <a:pt x="200" y="126"/>
                      <a:pt x="189" y="152"/>
                      <a:pt x="171" y="172"/>
                    </a:cubicBezTo>
                    <a:cubicBezTo>
                      <a:pt x="152" y="190"/>
                      <a:pt x="126" y="200"/>
                      <a:pt x="100" y="200"/>
                    </a:cubicBezTo>
                    <a:close/>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sp>
            <p:nvSpPr>
              <p:cNvPr id="100" name="Freeform 1999">
                <a:extLst>
                  <a:ext uri="{FF2B5EF4-FFF2-40B4-BE49-F238E27FC236}">
                    <a16:creationId xmlns:a16="http://schemas.microsoft.com/office/drawing/2014/main" id="{8FF44E2C-87B0-340C-6060-FA45139A95D2}"/>
                  </a:ext>
                </a:extLst>
              </p:cNvPr>
              <p:cNvSpPr>
                <a:spLocks/>
              </p:cNvSpPr>
              <p:nvPr/>
            </p:nvSpPr>
            <p:spPr bwMode="auto">
              <a:xfrm>
                <a:off x="8285163" y="1436688"/>
                <a:ext cx="7938" cy="7938"/>
              </a:xfrm>
              <a:custGeom>
                <a:avLst/>
                <a:gdLst>
                  <a:gd name="T0" fmla="*/ 108 w 209"/>
                  <a:gd name="T1" fmla="*/ 216 h 216"/>
                  <a:gd name="T2" fmla="*/ 13 w 209"/>
                  <a:gd name="T3" fmla="*/ 150 h 216"/>
                  <a:gd name="T4" fmla="*/ 0 w 209"/>
                  <a:gd name="T5" fmla="*/ 100 h 216"/>
                  <a:gd name="T6" fmla="*/ 100 w 209"/>
                  <a:gd name="T7" fmla="*/ 0 h 216"/>
                  <a:gd name="T8" fmla="*/ 174 w 209"/>
                  <a:gd name="T9" fmla="*/ 32 h 216"/>
                  <a:gd name="T10" fmla="*/ 209 w 209"/>
                  <a:gd name="T11" fmla="*/ 114 h 216"/>
                  <a:gd name="T12" fmla="*/ 209 w 209"/>
                  <a:gd name="T13" fmla="*/ 114 h 216"/>
                  <a:gd name="T14" fmla="*/ 209 w 209"/>
                  <a:gd name="T15" fmla="*/ 114 h 216"/>
                  <a:gd name="T16" fmla="*/ 209 w 209"/>
                  <a:gd name="T17" fmla="*/ 114 h 216"/>
                  <a:gd name="T18" fmla="*/ 209 w 209"/>
                  <a:gd name="T19" fmla="*/ 114 h 216"/>
                  <a:gd name="T20" fmla="*/ 209 w 209"/>
                  <a:gd name="T21" fmla="*/ 114 h 216"/>
                  <a:gd name="T22" fmla="*/ 108 w 209"/>
                  <a:gd name="T2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16">
                    <a:moveTo>
                      <a:pt x="108" y="216"/>
                    </a:moveTo>
                    <a:cubicBezTo>
                      <a:pt x="64" y="216"/>
                      <a:pt x="27" y="189"/>
                      <a:pt x="13" y="150"/>
                    </a:cubicBezTo>
                    <a:cubicBezTo>
                      <a:pt x="5" y="136"/>
                      <a:pt x="0" y="118"/>
                      <a:pt x="0" y="100"/>
                    </a:cubicBezTo>
                    <a:cubicBezTo>
                      <a:pt x="0" y="44"/>
                      <a:pt x="45" y="0"/>
                      <a:pt x="100" y="0"/>
                    </a:cubicBezTo>
                    <a:cubicBezTo>
                      <a:pt x="128" y="0"/>
                      <a:pt x="154" y="11"/>
                      <a:pt x="174" y="32"/>
                    </a:cubicBezTo>
                    <a:cubicBezTo>
                      <a:pt x="183" y="39"/>
                      <a:pt x="209" y="70"/>
                      <a:pt x="209" y="114"/>
                    </a:cubicBezTo>
                    <a:lnTo>
                      <a:pt x="209" y="114"/>
                    </a:lnTo>
                    <a:lnTo>
                      <a:pt x="209" y="114"/>
                    </a:lnTo>
                    <a:lnTo>
                      <a:pt x="209" y="114"/>
                    </a:lnTo>
                    <a:lnTo>
                      <a:pt x="209" y="114"/>
                    </a:lnTo>
                    <a:lnTo>
                      <a:pt x="209" y="114"/>
                    </a:lnTo>
                    <a:cubicBezTo>
                      <a:pt x="209" y="171"/>
                      <a:pt x="164" y="216"/>
                      <a:pt x="108" y="216"/>
                    </a:cubicBezTo>
                  </a:path>
                </a:pathLst>
              </a:custGeom>
              <a:solidFill>
                <a:srgbClr val="9AAE0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prstClr val="black"/>
                  </a:solidFill>
                  <a:effectLst/>
                  <a:uLnTx/>
                  <a:uFillTx/>
                  <a:latin typeface="Calibri" panose="020F0502020204030204"/>
                </a:endParaRPr>
              </a:p>
            </p:txBody>
          </p:sp>
        </p:grpSp>
      </p:grpSp>
    </p:spTree>
    <p:extLst>
      <p:ext uri="{BB962C8B-B14F-4D97-AF65-F5344CB8AC3E}">
        <p14:creationId xmlns:p14="http://schemas.microsoft.com/office/powerpoint/2010/main" val="411960604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p:cNvPicPr>
            <a:picLocks noChangeAspect="1"/>
          </p:cNvPicPr>
          <p:nvPr/>
        </p:nvPicPr>
        <p:blipFill>
          <a:blip r:embed="rId9"/>
          <a:stretch>
            <a:fillRect/>
          </a:stretch>
        </p:blipFill>
        <p:spPr>
          <a:xfrm>
            <a:off x="5966499" y="1376218"/>
            <a:ext cx="5672234" cy="5071459"/>
          </a:xfrm>
          <a:prstGeom prst="rect">
            <a:avLst/>
          </a:prstGeom>
        </p:spPr>
      </p:pic>
      <p:sp>
        <p:nvSpPr>
          <p:cNvPr id="4" name="Marcador de texto 3"/>
          <p:cNvSpPr>
            <a:spLocks noGrp="1"/>
          </p:cNvSpPr>
          <p:nvPr>
            <p:ph type="body" sz="quarter" idx="21"/>
          </p:nvPr>
        </p:nvSpPr>
        <p:spPr/>
        <p:txBody>
          <a:bodyPr/>
          <a:lstStyle/>
          <a:p>
            <a:r>
              <a:rPr lang="es-ES" altLang="ja-JP" sz="2400" dirty="0"/>
              <a:t>04. </a:t>
            </a:r>
            <a:r>
              <a:rPr lang="ja-JP" altLang="es-ES" sz="2400" dirty="0"/>
              <a:t>事例</a:t>
            </a:r>
            <a:r>
              <a:rPr lang="es-ES" altLang="ja-JP" sz="2400" dirty="0"/>
              <a:t>:</a:t>
            </a:r>
            <a:r>
              <a:rPr lang="ja-JP" altLang="es-ES" sz="2400" dirty="0"/>
              <a:t> </a:t>
            </a:r>
            <a:r>
              <a:rPr lang="es-ES" altLang="ja-JP" sz="2400" dirty="0"/>
              <a:t>Bradesco seguro</a:t>
            </a:r>
            <a:endParaRPr lang="en-GB" sz="2400" dirty="0">
              <a:latin typeface="ＭＳ Ｐゴシック" panose="020B0600070205080204" pitchFamily="50" charset="-128"/>
              <a:ea typeface="ＭＳ Ｐゴシック" panose="020B0600070205080204" pitchFamily="50" charset="-128"/>
            </a:endParaRPr>
          </a:p>
        </p:txBody>
      </p:sp>
      <p:sp>
        <p:nvSpPr>
          <p:cNvPr id="5" name="Rectangle 158"/>
          <p:cNvSpPr/>
          <p:nvPr/>
        </p:nvSpPr>
        <p:spPr>
          <a:xfrm>
            <a:off x="677432" y="1376218"/>
            <a:ext cx="5239151" cy="1108566"/>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600" b="1" kern="0" dirty="0">
                <a:solidFill>
                  <a:prstClr val="black"/>
                </a:solidFill>
              </a:rPr>
              <a:t>             </a:t>
            </a:r>
            <a:endParaRPr lang="en-US" sz="1600" kern="0" dirty="0">
              <a:solidFill>
                <a:prstClr val="black"/>
              </a:solidFill>
            </a:endParaRPr>
          </a:p>
        </p:txBody>
      </p:sp>
      <p:sp>
        <p:nvSpPr>
          <p:cNvPr id="6" name="Rectangle 159"/>
          <p:cNvSpPr/>
          <p:nvPr/>
        </p:nvSpPr>
        <p:spPr>
          <a:xfrm>
            <a:off x="511453" y="1376218"/>
            <a:ext cx="165980" cy="5084218"/>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defRPr/>
            </a:pPr>
            <a:endParaRPr lang="en-US" kern="0" dirty="0">
              <a:solidFill>
                <a:prstClr val="black"/>
              </a:solidFill>
            </a:endParaRPr>
          </a:p>
        </p:txBody>
      </p:sp>
      <p:grpSp>
        <p:nvGrpSpPr>
          <p:cNvPr id="7" name="Group 14">
            <a:extLst>
              <a:ext uri="{FF2B5EF4-FFF2-40B4-BE49-F238E27FC236}">
                <a16:creationId xmlns:a16="http://schemas.microsoft.com/office/drawing/2014/main" id="{1C37A94A-2FB5-48D0-A786-B43F2FD416E0}"/>
              </a:ext>
            </a:extLst>
          </p:cNvPr>
          <p:cNvGrpSpPr/>
          <p:nvPr/>
        </p:nvGrpSpPr>
        <p:grpSpPr>
          <a:xfrm>
            <a:off x="759417" y="1474749"/>
            <a:ext cx="552985" cy="552985"/>
            <a:chOff x="761861" y="3510594"/>
            <a:chExt cx="552985" cy="552985"/>
          </a:xfrm>
        </p:grpSpPr>
        <p:sp>
          <p:nvSpPr>
            <p:cNvPr id="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grpSp>
          <p:nvGrpSpPr>
            <p:cNvPr id="10" name="Identification" descr="{&quot;Key&quot;:&quot;POWER_USER_SHAPE_ICON&quot;,&quot;Value&quot;:&quot;POWER_USER_SHAPE_ICON_STYLE_1&quot;}">
              <a:extLst>
                <a:ext uri="{FF2B5EF4-FFF2-40B4-BE49-F238E27FC236}">
                  <a16:creationId xmlns:a16="http://schemas.microsoft.com/office/drawing/2014/main" id="{A31C51EF-54B7-4BE6-A471-94D27E8E60C2}"/>
                </a:ext>
              </a:extLst>
            </p:cNvPr>
            <p:cNvGrpSpPr>
              <a:grpSpLocks noChangeAspect="1"/>
            </p:cNvGrpSpPr>
            <p:nvPr>
              <p:custDataLst>
                <p:tags r:id="rId5"/>
              </p:custDataLst>
            </p:nvPr>
          </p:nvGrpSpPr>
          <p:grpSpPr bwMode="auto">
            <a:xfrm>
              <a:off x="832266" y="3655978"/>
              <a:ext cx="415466" cy="259297"/>
              <a:chOff x="81" y="144"/>
              <a:chExt cx="282" cy="176"/>
            </a:xfrm>
            <a:solidFill>
              <a:schemeClr val="bg1"/>
            </a:solidFill>
          </p:grpSpPr>
          <p:sp>
            <p:nvSpPr>
              <p:cNvPr id="11" name="Identification">
                <a:extLst>
                  <a:ext uri="{FF2B5EF4-FFF2-40B4-BE49-F238E27FC236}">
                    <a16:creationId xmlns:a16="http://schemas.microsoft.com/office/drawing/2014/main" id="{33C0A75F-109D-445B-95D8-C18C514E0300}"/>
                  </a:ext>
                </a:extLst>
              </p:cNvPr>
              <p:cNvSpPr>
                <a:spLocks noEditPoints="1"/>
              </p:cNvSpPr>
              <p:nvPr>
                <p:custDataLst>
                  <p:tags r:id="rId6"/>
                </p:custDataLst>
              </p:nvPr>
            </p:nvSpPr>
            <p:spPr bwMode="auto">
              <a:xfrm>
                <a:off x="81" y="144"/>
                <a:ext cx="282" cy="176"/>
              </a:xfrm>
              <a:custGeom>
                <a:avLst/>
                <a:gdLst>
                  <a:gd name="T0" fmla="*/ 346 w 753"/>
                  <a:gd name="T1" fmla="*/ 164 h 467"/>
                  <a:gd name="T2" fmla="*/ 51 w 753"/>
                  <a:gd name="T3" fmla="*/ 164 h 467"/>
                  <a:gd name="T4" fmla="*/ 51 w 753"/>
                  <a:gd name="T5" fmla="*/ 206 h 467"/>
                  <a:gd name="T6" fmla="*/ 346 w 753"/>
                  <a:gd name="T7" fmla="*/ 206 h 467"/>
                  <a:gd name="T8" fmla="*/ 346 w 753"/>
                  <a:gd name="T9" fmla="*/ 164 h 467"/>
                  <a:gd name="T10" fmla="*/ 51 w 753"/>
                  <a:gd name="T11" fmla="*/ 363 h 467"/>
                  <a:gd name="T12" fmla="*/ 346 w 753"/>
                  <a:gd name="T13" fmla="*/ 363 h 467"/>
                  <a:gd name="T14" fmla="*/ 346 w 753"/>
                  <a:gd name="T15" fmla="*/ 321 h 467"/>
                  <a:gd name="T16" fmla="*/ 51 w 753"/>
                  <a:gd name="T17" fmla="*/ 321 h 467"/>
                  <a:gd name="T18" fmla="*/ 51 w 753"/>
                  <a:gd name="T19" fmla="*/ 363 h 467"/>
                  <a:gd name="T20" fmla="*/ 51 w 753"/>
                  <a:gd name="T21" fmla="*/ 85 h 467"/>
                  <a:gd name="T22" fmla="*/ 51 w 753"/>
                  <a:gd name="T23" fmla="*/ 127 h 467"/>
                  <a:gd name="T24" fmla="*/ 346 w 753"/>
                  <a:gd name="T25" fmla="*/ 127 h 467"/>
                  <a:gd name="T26" fmla="*/ 346 w 753"/>
                  <a:gd name="T27" fmla="*/ 85 h 467"/>
                  <a:gd name="T28" fmla="*/ 51 w 753"/>
                  <a:gd name="T29" fmla="*/ 85 h 467"/>
                  <a:gd name="T30" fmla="*/ 384 w 753"/>
                  <a:gd name="T31" fmla="*/ 119 h 467"/>
                  <a:gd name="T32" fmla="*/ 384 w 753"/>
                  <a:gd name="T33" fmla="*/ 328 h 467"/>
                  <a:gd name="T34" fmla="*/ 404 w 753"/>
                  <a:gd name="T35" fmla="*/ 321 h 467"/>
                  <a:gd name="T36" fmla="*/ 506 w 753"/>
                  <a:gd name="T37" fmla="*/ 276 h 467"/>
                  <a:gd name="T38" fmla="*/ 509 w 753"/>
                  <a:gd name="T39" fmla="*/ 276 h 467"/>
                  <a:gd name="T40" fmla="*/ 506 w 753"/>
                  <a:gd name="T41" fmla="*/ 274 h 467"/>
                  <a:gd name="T42" fmla="*/ 459 w 753"/>
                  <a:gd name="T43" fmla="*/ 165 h 467"/>
                  <a:gd name="T44" fmla="*/ 545 w 753"/>
                  <a:gd name="T45" fmla="*/ 76 h 467"/>
                  <a:gd name="T46" fmla="*/ 628 w 753"/>
                  <a:gd name="T47" fmla="*/ 167 h 467"/>
                  <a:gd name="T48" fmla="*/ 578 w 753"/>
                  <a:gd name="T49" fmla="*/ 275 h 467"/>
                  <a:gd name="T50" fmla="*/ 680 w 753"/>
                  <a:gd name="T51" fmla="*/ 321 h 467"/>
                  <a:gd name="T52" fmla="*/ 713 w 753"/>
                  <a:gd name="T53" fmla="*/ 337 h 467"/>
                  <a:gd name="T54" fmla="*/ 713 w 753"/>
                  <a:gd name="T55" fmla="*/ 119 h 467"/>
                  <a:gd name="T56" fmla="*/ 656 w 753"/>
                  <a:gd name="T57" fmla="*/ 61 h 467"/>
                  <a:gd name="T58" fmla="*/ 545 w 753"/>
                  <a:gd name="T59" fmla="*/ 61 h 467"/>
                  <a:gd name="T60" fmla="*/ 442 w 753"/>
                  <a:gd name="T61" fmla="*/ 61 h 467"/>
                  <a:gd name="T62" fmla="*/ 384 w 753"/>
                  <a:gd name="T63" fmla="*/ 119 h 467"/>
                  <a:gd name="T64" fmla="*/ 51 w 753"/>
                  <a:gd name="T65" fmla="*/ 242 h 467"/>
                  <a:gd name="T66" fmla="*/ 51 w 753"/>
                  <a:gd name="T67" fmla="*/ 284 h 467"/>
                  <a:gd name="T68" fmla="*/ 346 w 753"/>
                  <a:gd name="T69" fmla="*/ 284 h 467"/>
                  <a:gd name="T70" fmla="*/ 346 w 753"/>
                  <a:gd name="T71" fmla="*/ 242 h 467"/>
                  <a:gd name="T72" fmla="*/ 51 w 753"/>
                  <a:gd name="T73" fmla="*/ 242 h 467"/>
                  <a:gd name="T74" fmla="*/ 753 w 753"/>
                  <a:gd name="T75" fmla="*/ 414 h 467"/>
                  <a:gd name="T76" fmla="*/ 701 w 753"/>
                  <a:gd name="T77" fmla="*/ 467 h 467"/>
                  <a:gd name="T78" fmla="*/ 53 w 753"/>
                  <a:gd name="T79" fmla="*/ 467 h 467"/>
                  <a:gd name="T80" fmla="*/ 0 w 753"/>
                  <a:gd name="T81" fmla="*/ 414 h 467"/>
                  <a:gd name="T82" fmla="*/ 0 w 753"/>
                  <a:gd name="T83" fmla="*/ 53 h 467"/>
                  <a:gd name="T84" fmla="*/ 53 w 753"/>
                  <a:gd name="T85" fmla="*/ 0 h 467"/>
                  <a:gd name="T86" fmla="*/ 701 w 753"/>
                  <a:gd name="T87" fmla="*/ 0 h 467"/>
                  <a:gd name="T88" fmla="*/ 753 w 753"/>
                  <a:gd name="T89" fmla="*/ 53 h 467"/>
                  <a:gd name="T90" fmla="*/ 753 w 753"/>
                  <a:gd name="T91" fmla="*/ 41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3" h="467">
                    <a:moveTo>
                      <a:pt x="346" y="164"/>
                    </a:moveTo>
                    <a:lnTo>
                      <a:pt x="51" y="164"/>
                    </a:lnTo>
                    <a:lnTo>
                      <a:pt x="51" y="206"/>
                    </a:lnTo>
                    <a:lnTo>
                      <a:pt x="346" y="206"/>
                    </a:lnTo>
                    <a:lnTo>
                      <a:pt x="346" y="164"/>
                    </a:lnTo>
                    <a:close/>
                    <a:moveTo>
                      <a:pt x="51" y="363"/>
                    </a:moveTo>
                    <a:lnTo>
                      <a:pt x="346" y="363"/>
                    </a:lnTo>
                    <a:lnTo>
                      <a:pt x="346" y="321"/>
                    </a:lnTo>
                    <a:lnTo>
                      <a:pt x="51" y="321"/>
                    </a:lnTo>
                    <a:lnTo>
                      <a:pt x="51" y="363"/>
                    </a:lnTo>
                    <a:close/>
                    <a:moveTo>
                      <a:pt x="51" y="85"/>
                    </a:moveTo>
                    <a:lnTo>
                      <a:pt x="51" y="127"/>
                    </a:lnTo>
                    <a:lnTo>
                      <a:pt x="346" y="127"/>
                    </a:lnTo>
                    <a:lnTo>
                      <a:pt x="346" y="85"/>
                    </a:lnTo>
                    <a:lnTo>
                      <a:pt x="51" y="85"/>
                    </a:lnTo>
                    <a:close/>
                    <a:moveTo>
                      <a:pt x="384" y="119"/>
                    </a:moveTo>
                    <a:lnTo>
                      <a:pt x="384" y="328"/>
                    </a:lnTo>
                    <a:cubicBezTo>
                      <a:pt x="390" y="326"/>
                      <a:pt x="397" y="323"/>
                      <a:pt x="404" y="321"/>
                    </a:cubicBezTo>
                    <a:cubicBezTo>
                      <a:pt x="467" y="304"/>
                      <a:pt x="499" y="297"/>
                      <a:pt x="506" y="276"/>
                    </a:cubicBezTo>
                    <a:lnTo>
                      <a:pt x="509" y="276"/>
                    </a:lnTo>
                    <a:cubicBezTo>
                      <a:pt x="508" y="275"/>
                      <a:pt x="507" y="275"/>
                      <a:pt x="506" y="274"/>
                    </a:cubicBezTo>
                    <a:cubicBezTo>
                      <a:pt x="480" y="250"/>
                      <a:pt x="459" y="203"/>
                      <a:pt x="459" y="165"/>
                    </a:cubicBezTo>
                    <a:cubicBezTo>
                      <a:pt x="459" y="111"/>
                      <a:pt x="503" y="76"/>
                      <a:pt x="545" y="76"/>
                    </a:cubicBezTo>
                    <a:cubicBezTo>
                      <a:pt x="586" y="76"/>
                      <a:pt x="628" y="114"/>
                      <a:pt x="628" y="167"/>
                    </a:cubicBezTo>
                    <a:cubicBezTo>
                      <a:pt x="628" y="205"/>
                      <a:pt x="606" y="251"/>
                      <a:pt x="578" y="275"/>
                    </a:cubicBezTo>
                    <a:cubicBezTo>
                      <a:pt x="583" y="296"/>
                      <a:pt x="615" y="304"/>
                      <a:pt x="680" y="321"/>
                    </a:cubicBezTo>
                    <a:cubicBezTo>
                      <a:pt x="694" y="325"/>
                      <a:pt x="705" y="331"/>
                      <a:pt x="713" y="337"/>
                    </a:cubicBezTo>
                    <a:lnTo>
                      <a:pt x="713" y="119"/>
                    </a:lnTo>
                    <a:cubicBezTo>
                      <a:pt x="713" y="87"/>
                      <a:pt x="688" y="61"/>
                      <a:pt x="656" y="61"/>
                    </a:cubicBezTo>
                    <a:lnTo>
                      <a:pt x="545" y="61"/>
                    </a:lnTo>
                    <a:lnTo>
                      <a:pt x="442" y="61"/>
                    </a:lnTo>
                    <a:cubicBezTo>
                      <a:pt x="410" y="61"/>
                      <a:pt x="384" y="87"/>
                      <a:pt x="384" y="119"/>
                    </a:cubicBezTo>
                    <a:close/>
                    <a:moveTo>
                      <a:pt x="51" y="242"/>
                    </a:moveTo>
                    <a:lnTo>
                      <a:pt x="51" y="284"/>
                    </a:lnTo>
                    <a:lnTo>
                      <a:pt x="346" y="284"/>
                    </a:lnTo>
                    <a:lnTo>
                      <a:pt x="346" y="242"/>
                    </a:lnTo>
                    <a:lnTo>
                      <a:pt x="51" y="242"/>
                    </a:lnTo>
                    <a:close/>
                    <a:moveTo>
                      <a:pt x="753" y="414"/>
                    </a:moveTo>
                    <a:cubicBezTo>
                      <a:pt x="753" y="443"/>
                      <a:pt x="730" y="467"/>
                      <a:pt x="701" y="467"/>
                    </a:cubicBezTo>
                    <a:lnTo>
                      <a:pt x="53" y="467"/>
                    </a:lnTo>
                    <a:cubicBezTo>
                      <a:pt x="24" y="467"/>
                      <a:pt x="0" y="443"/>
                      <a:pt x="0" y="414"/>
                    </a:cubicBezTo>
                    <a:lnTo>
                      <a:pt x="0" y="53"/>
                    </a:lnTo>
                    <a:cubicBezTo>
                      <a:pt x="0" y="24"/>
                      <a:pt x="24" y="0"/>
                      <a:pt x="53" y="0"/>
                    </a:cubicBezTo>
                    <a:lnTo>
                      <a:pt x="701" y="0"/>
                    </a:lnTo>
                    <a:cubicBezTo>
                      <a:pt x="730" y="0"/>
                      <a:pt x="753" y="24"/>
                      <a:pt x="753" y="53"/>
                    </a:cubicBezTo>
                    <a:lnTo>
                      <a:pt x="753" y="4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2" name="Identification">
                <a:extLst>
                  <a:ext uri="{FF2B5EF4-FFF2-40B4-BE49-F238E27FC236}">
                    <a16:creationId xmlns:a16="http://schemas.microsoft.com/office/drawing/2014/main" id="{985152F4-D0AD-4849-84AF-E45ED4C87A0A}"/>
                  </a:ext>
                </a:extLst>
              </p:cNvPr>
              <p:cNvSpPr>
                <a:spLocks/>
              </p:cNvSpPr>
              <p:nvPr>
                <p:custDataLst>
                  <p:tags r:id="rId7"/>
                </p:custDataLst>
              </p:nvPr>
            </p:nvSpPr>
            <p:spPr bwMode="auto">
              <a:xfrm>
                <a:off x="271" y="247"/>
                <a:ext cx="1" cy="1"/>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sp>
        <p:nvSpPr>
          <p:cNvPr id="2" name="Rectángulo 1"/>
          <p:cNvSpPr/>
          <p:nvPr/>
        </p:nvSpPr>
        <p:spPr>
          <a:xfrm>
            <a:off x="1322563" y="1444986"/>
            <a:ext cx="4095993" cy="369332"/>
          </a:xfrm>
          <a:prstGeom prst="rect">
            <a:avLst/>
          </a:prstGeom>
        </p:spPr>
        <p:txBody>
          <a:bodyPr wrap="none">
            <a:spAutoFit/>
          </a:bodyPr>
          <a:lstStyle/>
          <a:p>
            <a:r>
              <a:rPr lang="ja-JP" altLang="es-ES" b="1" dirty="0">
                <a:solidFill>
                  <a:prstClr val="black"/>
                </a:solidFill>
                <a:latin typeface="ＭＳ Ｐゴシック" panose="020B0600070205080204" pitchFamily="50" charset="-128"/>
                <a:ea typeface="ＭＳ Ｐゴシック" panose="020B0600070205080204" pitchFamily="50" charset="-128"/>
              </a:rPr>
              <a:t>バックオフィス業務自動化（効率化）活動</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sp>
        <p:nvSpPr>
          <p:cNvPr id="13" name="Rectángulo 12"/>
          <p:cNvSpPr/>
          <p:nvPr/>
        </p:nvSpPr>
        <p:spPr>
          <a:xfrm>
            <a:off x="1391143" y="1804556"/>
            <a:ext cx="2956259" cy="584775"/>
          </a:xfrm>
          <a:prstGeom prst="rect">
            <a:avLst/>
          </a:prstGeom>
        </p:spPr>
        <p:txBody>
          <a:bodyPr wrap="none">
            <a:spAutoFit/>
          </a:bodyPr>
          <a:lstStyle/>
          <a:p>
            <a:r>
              <a:rPr lang="ja-JP" altLang="es-ES" sz="1600" dirty="0">
                <a:solidFill>
                  <a:prstClr val="black"/>
                </a:solidFill>
                <a:latin typeface="ＭＳ Ｐゴシック" panose="020B0600070205080204" pitchFamily="50" charset="-128"/>
                <a:ea typeface="ＭＳ Ｐゴシック" panose="020B0600070205080204" pitchFamily="50" charset="-128"/>
              </a:rPr>
              <a:t>保険業務のバックオフィス作業、</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r>
              <a:rPr lang="ja-JP" altLang="es-ES" sz="1600" dirty="0">
                <a:solidFill>
                  <a:prstClr val="black"/>
                </a:solidFill>
                <a:latin typeface="ＭＳ Ｐゴシック" panose="020B0600070205080204" pitchFamily="50" charset="-128"/>
                <a:ea typeface="ＭＳ Ｐゴシック" panose="020B0600070205080204" pitchFamily="50" charset="-128"/>
              </a:rPr>
              <a:t>コールセンター業務の自動化</a:t>
            </a:r>
            <a:r>
              <a:rPr lang="es-ES" altLang="ja-JP" sz="1600" dirty="0">
                <a:solidFill>
                  <a:prstClr val="black"/>
                </a:solidFill>
                <a:latin typeface="ＭＳ Ｐゴシック" panose="020B0600070205080204" pitchFamily="50" charset="-128"/>
                <a:ea typeface="ＭＳ Ｐゴシック" panose="020B0600070205080204" pitchFamily="50" charset="-128"/>
              </a:rPr>
              <a:t>DX</a:t>
            </a:r>
            <a:endParaRPr lang="en-US" sz="1600" dirty="0">
              <a:solidFill>
                <a:prstClr val="black"/>
              </a:solidFill>
              <a:latin typeface="ＭＳ Ｐゴシック" panose="020B0600070205080204" pitchFamily="50" charset="-128"/>
              <a:ea typeface="ＭＳ Ｐゴシック" panose="020B0600070205080204" pitchFamily="50" charset="-128"/>
            </a:endParaRPr>
          </a:p>
        </p:txBody>
      </p:sp>
      <p:sp>
        <p:nvSpPr>
          <p:cNvPr id="14" name="Rectangle 111"/>
          <p:cNvSpPr/>
          <p:nvPr/>
        </p:nvSpPr>
        <p:spPr>
          <a:xfrm>
            <a:off x="677432" y="4800600"/>
            <a:ext cx="5239151" cy="165983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kern="0" dirty="0">
              <a:solidFill>
                <a:prstClr val="black"/>
              </a:solidFill>
            </a:endParaRPr>
          </a:p>
        </p:txBody>
      </p:sp>
      <p:grpSp>
        <p:nvGrpSpPr>
          <p:cNvPr id="27" name="Group 14">
            <a:extLst>
              <a:ext uri="{FF2B5EF4-FFF2-40B4-BE49-F238E27FC236}">
                <a16:creationId xmlns:a16="http://schemas.microsoft.com/office/drawing/2014/main" id="{1C37A94A-2FB5-48D0-A786-B43F2FD416E0}"/>
              </a:ext>
            </a:extLst>
          </p:cNvPr>
          <p:cNvGrpSpPr/>
          <p:nvPr/>
        </p:nvGrpSpPr>
        <p:grpSpPr>
          <a:xfrm>
            <a:off x="740449" y="4830362"/>
            <a:ext cx="552985" cy="552985"/>
            <a:chOff x="761861" y="3510594"/>
            <a:chExt cx="552985" cy="552985"/>
          </a:xfrm>
        </p:grpSpPr>
        <p:sp>
          <p:nvSpPr>
            <p:cNvPr id="2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2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32" name="Identification">
              <a:extLst>
                <a:ext uri="{FF2B5EF4-FFF2-40B4-BE49-F238E27FC236}">
                  <a16:creationId xmlns:a16="http://schemas.microsoft.com/office/drawing/2014/main" id="{985152F4-D0AD-4849-84AF-E45ED4C87A0A}"/>
                </a:ext>
              </a:extLst>
            </p:cNvPr>
            <p:cNvSpPr>
              <a:spLocks/>
            </p:cNvSpPr>
            <p:nvPr>
              <p:custDataLst>
                <p:tags r:id="rId4"/>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38" name="Performance2" descr="{&quot;Key&quot;:&quot;POWER_USER_SHAPE_ICON&quot;,&quot;Value&quot;:&quot;POWER_USER_SHAPE_ICON_STYLE_1&quot;}">
            <a:extLst>
              <a:ext uri="{FF2B5EF4-FFF2-40B4-BE49-F238E27FC236}">
                <a16:creationId xmlns:a16="http://schemas.microsoft.com/office/drawing/2014/main" id="{CFE264C0-BB04-4740-BE6D-9253E9D43B05}"/>
              </a:ext>
            </a:extLst>
          </p:cNvPr>
          <p:cNvGrpSpPr>
            <a:grpSpLocks noChangeAspect="1"/>
          </p:cNvGrpSpPr>
          <p:nvPr/>
        </p:nvGrpSpPr>
        <p:grpSpPr>
          <a:xfrm>
            <a:off x="817650" y="4858379"/>
            <a:ext cx="366454" cy="467741"/>
            <a:chOff x="412750" y="4575176"/>
            <a:chExt cx="511175" cy="652463"/>
          </a:xfrm>
          <a:solidFill>
            <a:schemeClr val="bg1"/>
          </a:solidFill>
        </p:grpSpPr>
        <p:sp>
          <p:nvSpPr>
            <p:cNvPr id="39" name="Freeform 173">
              <a:extLst>
                <a:ext uri="{FF2B5EF4-FFF2-40B4-BE49-F238E27FC236}">
                  <a16:creationId xmlns:a16="http://schemas.microsoft.com/office/drawing/2014/main" id="{8A2181E1-CDD9-4F58-9BB4-DC1229B6D753}"/>
                </a:ext>
              </a:extLst>
            </p:cNvPr>
            <p:cNvSpPr>
              <a:spLocks noEditPoints="1"/>
            </p:cNvSpPr>
            <p:nvPr/>
          </p:nvSpPr>
          <p:spPr bwMode="auto">
            <a:xfrm>
              <a:off x="412750" y="4575176"/>
              <a:ext cx="511175" cy="652463"/>
            </a:xfrm>
            <a:custGeom>
              <a:avLst/>
              <a:gdLst>
                <a:gd name="T0" fmla="*/ 748 w 856"/>
                <a:gd name="T1" fmla="*/ 639 h 1091"/>
                <a:gd name="T2" fmla="*/ 319 w 856"/>
                <a:gd name="T3" fmla="*/ 1058 h 1091"/>
                <a:gd name="T4" fmla="*/ 266 w 856"/>
                <a:gd name="T5" fmla="*/ 833 h 1091"/>
                <a:gd name="T6" fmla="*/ 153 w 856"/>
                <a:gd name="T7" fmla="*/ 833 h 1091"/>
                <a:gd name="T8" fmla="*/ 115 w 856"/>
                <a:gd name="T9" fmla="*/ 724 h 1091"/>
                <a:gd name="T10" fmla="*/ 86 w 856"/>
                <a:gd name="T11" fmla="*/ 692 h 1091"/>
                <a:gd name="T12" fmla="*/ 86 w 856"/>
                <a:gd name="T13" fmla="*/ 688 h 1091"/>
                <a:gd name="T14" fmla="*/ 111 w 856"/>
                <a:gd name="T15" fmla="*/ 664 h 1091"/>
                <a:gd name="T16" fmla="*/ 86 w 856"/>
                <a:gd name="T17" fmla="*/ 641 h 1091"/>
                <a:gd name="T18" fmla="*/ 84 w 856"/>
                <a:gd name="T19" fmla="*/ 631 h 1091"/>
                <a:gd name="T20" fmla="*/ 100 w 856"/>
                <a:gd name="T21" fmla="*/ 585 h 1091"/>
                <a:gd name="T22" fmla="*/ 46 w 856"/>
                <a:gd name="T23" fmla="*/ 540 h 1091"/>
                <a:gd name="T24" fmla="*/ 39 w 856"/>
                <a:gd name="T25" fmla="*/ 512 h 1091"/>
                <a:gd name="T26" fmla="*/ 120 w 856"/>
                <a:gd name="T27" fmla="*/ 363 h 1091"/>
                <a:gd name="T28" fmla="*/ 417 w 856"/>
                <a:gd name="T29" fmla="*/ 60 h 1091"/>
                <a:gd name="T30" fmla="*/ 796 w 856"/>
                <a:gd name="T31" fmla="*/ 531 h 1091"/>
                <a:gd name="T32" fmla="*/ 413 w 856"/>
                <a:gd name="T33" fmla="*/ 27 h 1091"/>
                <a:gd name="T34" fmla="*/ 86 w 856"/>
                <a:gd name="T35" fmla="*/ 360 h 1091"/>
                <a:gd name="T36" fmla="*/ 11 w 856"/>
                <a:gd name="T37" fmla="*/ 493 h 1091"/>
                <a:gd name="T38" fmla="*/ 31 w 856"/>
                <a:gd name="T39" fmla="*/ 570 h 1091"/>
                <a:gd name="T40" fmla="*/ 67 w 856"/>
                <a:gd name="T41" fmla="*/ 592 h 1091"/>
                <a:gd name="T42" fmla="*/ 58 w 856"/>
                <a:gd name="T43" fmla="*/ 611 h 1091"/>
                <a:gd name="T44" fmla="*/ 62 w 856"/>
                <a:gd name="T45" fmla="*/ 665 h 1091"/>
                <a:gd name="T46" fmla="*/ 65 w 856"/>
                <a:gd name="T47" fmla="*/ 718 h 1091"/>
                <a:gd name="T48" fmla="*/ 80 w 856"/>
                <a:gd name="T49" fmla="*/ 764 h 1091"/>
                <a:gd name="T50" fmla="*/ 207 w 856"/>
                <a:gd name="T51" fmla="*/ 871 h 1091"/>
                <a:gd name="T52" fmla="*/ 299 w 856"/>
                <a:gd name="T53" fmla="*/ 890 h 1091"/>
                <a:gd name="T54" fmla="*/ 282 w 856"/>
                <a:gd name="T55" fmla="*/ 1084 h 1091"/>
                <a:gd name="T56" fmla="*/ 767 w 856"/>
                <a:gd name="T57" fmla="*/ 1091 h 1091"/>
                <a:gd name="T58" fmla="*/ 783 w 856"/>
                <a:gd name="T59" fmla="*/ 1070 h 1091"/>
                <a:gd name="T60" fmla="*/ 827 w 856"/>
                <a:gd name="T61" fmla="*/ 543 h 1091"/>
                <a:gd name="T62" fmla="*/ 839 w 856"/>
                <a:gd name="T63" fmla="*/ 328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6" h="1091">
                  <a:moveTo>
                    <a:pt x="796" y="531"/>
                  </a:moveTo>
                  <a:cubicBezTo>
                    <a:pt x="778" y="575"/>
                    <a:pt x="762" y="609"/>
                    <a:pt x="748" y="639"/>
                  </a:cubicBezTo>
                  <a:cubicBezTo>
                    <a:pt x="693" y="751"/>
                    <a:pt x="674" y="791"/>
                    <a:pt x="745" y="1058"/>
                  </a:cubicBezTo>
                  <a:lnTo>
                    <a:pt x="319" y="1058"/>
                  </a:lnTo>
                  <a:cubicBezTo>
                    <a:pt x="332" y="1019"/>
                    <a:pt x="352" y="937"/>
                    <a:pt x="330" y="878"/>
                  </a:cubicBezTo>
                  <a:cubicBezTo>
                    <a:pt x="320" y="852"/>
                    <a:pt x="295" y="834"/>
                    <a:pt x="266" y="833"/>
                  </a:cubicBezTo>
                  <a:cubicBezTo>
                    <a:pt x="244" y="832"/>
                    <a:pt x="222" y="834"/>
                    <a:pt x="200" y="839"/>
                  </a:cubicBezTo>
                  <a:cubicBezTo>
                    <a:pt x="184" y="842"/>
                    <a:pt x="168" y="840"/>
                    <a:pt x="153" y="833"/>
                  </a:cubicBezTo>
                  <a:cubicBezTo>
                    <a:pt x="128" y="820"/>
                    <a:pt x="112" y="794"/>
                    <a:pt x="113" y="766"/>
                  </a:cubicBezTo>
                  <a:lnTo>
                    <a:pt x="115" y="724"/>
                  </a:lnTo>
                  <a:cubicBezTo>
                    <a:pt x="115" y="719"/>
                    <a:pt x="113" y="714"/>
                    <a:pt x="109" y="711"/>
                  </a:cubicBezTo>
                  <a:lnTo>
                    <a:pt x="86" y="692"/>
                  </a:lnTo>
                  <a:cubicBezTo>
                    <a:pt x="85" y="692"/>
                    <a:pt x="85" y="691"/>
                    <a:pt x="85" y="690"/>
                  </a:cubicBezTo>
                  <a:cubicBezTo>
                    <a:pt x="85" y="689"/>
                    <a:pt x="86" y="688"/>
                    <a:pt x="86" y="688"/>
                  </a:cubicBezTo>
                  <a:lnTo>
                    <a:pt x="102" y="679"/>
                  </a:lnTo>
                  <a:cubicBezTo>
                    <a:pt x="107" y="676"/>
                    <a:pt x="111" y="670"/>
                    <a:pt x="111" y="664"/>
                  </a:cubicBezTo>
                  <a:cubicBezTo>
                    <a:pt x="111" y="658"/>
                    <a:pt x="107" y="653"/>
                    <a:pt x="102" y="650"/>
                  </a:cubicBezTo>
                  <a:lnTo>
                    <a:pt x="86" y="641"/>
                  </a:lnTo>
                  <a:cubicBezTo>
                    <a:pt x="84" y="639"/>
                    <a:pt x="83" y="637"/>
                    <a:pt x="83" y="636"/>
                  </a:cubicBezTo>
                  <a:cubicBezTo>
                    <a:pt x="82" y="635"/>
                    <a:pt x="82" y="633"/>
                    <a:pt x="84" y="631"/>
                  </a:cubicBezTo>
                  <a:lnTo>
                    <a:pt x="92" y="621"/>
                  </a:lnTo>
                  <a:cubicBezTo>
                    <a:pt x="100" y="610"/>
                    <a:pt x="103" y="597"/>
                    <a:pt x="100" y="585"/>
                  </a:cubicBezTo>
                  <a:cubicBezTo>
                    <a:pt x="97" y="572"/>
                    <a:pt x="89" y="561"/>
                    <a:pt x="77" y="555"/>
                  </a:cubicBezTo>
                  <a:lnTo>
                    <a:pt x="46" y="540"/>
                  </a:lnTo>
                  <a:cubicBezTo>
                    <a:pt x="41" y="537"/>
                    <a:pt x="38" y="533"/>
                    <a:pt x="36" y="528"/>
                  </a:cubicBezTo>
                  <a:cubicBezTo>
                    <a:pt x="35" y="522"/>
                    <a:pt x="36" y="517"/>
                    <a:pt x="39" y="512"/>
                  </a:cubicBezTo>
                  <a:lnTo>
                    <a:pt x="98" y="425"/>
                  </a:lnTo>
                  <a:cubicBezTo>
                    <a:pt x="110" y="407"/>
                    <a:pt x="118" y="385"/>
                    <a:pt x="120" y="363"/>
                  </a:cubicBezTo>
                  <a:cubicBezTo>
                    <a:pt x="121" y="342"/>
                    <a:pt x="123" y="323"/>
                    <a:pt x="129" y="306"/>
                  </a:cubicBezTo>
                  <a:cubicBezTo>
                    <a:pt x="174" y="174"/>
                    <a:pt x="287" y="78"/>
                    <a:pt x="417" y="60"/>
                  </a:cubicBezTo>
                  <a:cubicBezTo>
                    <a:pt x="609" y="35"/>
                    <a:pt x="768" y="184"/>
                    <a:pt x="806" y="336"/>
                  </a:cubicBezTo>
                  <a:cubicBezTo>
                    <a:pt x="822" y="397"/>
                    <a:pt x="818" y="465"/>
                    <a:pt x="796" y="531"/>
                  </a:cubicBezTo>
                  <a:close/>
                  <a:moveTo>
                    <a:pt x="839" y="328"/>
                  </a:moveTo>
                  <a:cubicBezTo>
                    <a:pt x="797" y="162"/>
                    <a:pt x="622" y="0"/>
                    <a:pt x="413" y="27"/>
                  </a:cubicBezTo>
                  <a:cubicBezTo>
                    <a:pt x="270" y="46"/>
                    <a:pt x="147" y="151"/>
                    <a:pt x="98" y="295"/>
                  </a:cubicBezTo>
                  <a:cubicBezTo>
                    <a:pt x="91" y="316"/>
                    <a:pt x="88" y="337"/>
                    <a:pt x="86" y="360"/>
                  </a:cubicBezTo>
                  <a:cubicBezTo>
                    <a:pt x="85" y="377"/>
                    <a:pt x="79" y="393"/>
                    <a:pt x="70" y="407"/>
                  </a:cubicBezTo>
                  <a:lnTo>
                    <a:pt x="11" y="493"/>
                  </a:lnTo>
                  <a:cubicBezTo>
                    <a:pt x="3" y="506"/>
                    <a:pt x="0" y="521"/>
                    <a:pt x="4" y="536"/>
                  </a:cubicBezTo>
                  <a:cubicBezTo>
                    <a:pt x="8" y="550"/>
                    <a:pt x="18" y="563"/>
                    <a:pt x="31" y="570"/>
                  </a:cubicBezTo>
                  <a:lnTo>
                    <a:pt x="62" y="585"/>
                  </a:lnTo>
                  <a:cubicBezTo>
                    <a:pt x="66" y="587"/>
                    <a:pt x="67" y="590"/>
                    <a:pt x="67" y="592"/>
                  </a:cubicBezTo>
                  <a:cubicBezTo>
                    <a:pt x="68" y="594"/>
                    <a:pt x="68" y="597"/>
                    <a:pt x="65" y="600"/>
                  </a:cubicBezTo>
                  <a:lnTo>
                    <a:pt x="58" y="611"/>
                  </a:lnTo>
                  <a:cubicBezTo>
                    <a:pt x="50" y="620"/>
                    <a:pt x="48" y="632"/>
                    <a:pt x="50" y="643"/>
                  </a:cubicBezTo>
                  <a:cubicBezTo>
                    <a:pt x="52" y="651"/>
                    <a:pt x="56" y="659"/>
                    <a:pt x="62" y="665"/>
                  </a:cubicBezTo>
                  <a:cubicBezTo>
                    <a:pt x="56" y="671"/>
                    <a:pt x="53" y="679"/>
                    <a:pt x="52" y="687"/>
                  </a:cubicBezTo>
                  <a:cubicBezTo>
                    <a:pt x="51" y="699"/>
                    <a:pt x="56" y="711"/>
                    <a:pt x="65" y="718"/>
                  </a:cubicBezTo>
                  <a:lnTo>
                    <a:pt x="81" y="731"/>
                  </a:lnTo>
                  <a:lnTo>
                    <a:pt x="80" y="764"/>
                  </a:lnTo>
                  <a:cubicBezTo>
                    <a:pt x="79" y="805"/>
                    <a:pt x="101" y="844"/>
                    <a:pt x="138" y="862"/>
                  </a:cubicBezTo>
                  <a:cubicBezTo>
                    <a:pt x="160" y="873"/>
                    <a:pt x="184" y="876"/>
                    <a:pt x="207" y="871"/>
                  </a:cubicBezTo>
                  <a:cubicBezTo>
                    <a:pt x="226" y="867"/>
                    <a:pt x="246" y="865"/>
                    <a:pt x="265" y="866"/>
                  </a:cubicBezTo>
                  <a:cubicBezTo>
                    <a:pt x="280" y="867"/>
                    <a:pt x="294" y="876"/>
                    <a:pt x="299" y="890"/>
                  </a:cubicBezTo>
                  <a:cubicBezTo>
                    <a:pt x="323" y="957"/>
                    <a:pt x="281" y="1067"/>
                    <a:pt x="280" y="1068"/>
                  </a:cubicBezTo>
                  <a:cubicBezTo>
                    <a:pt x="278" y="1073"/>
                    <a:pt x="279" y="1079"/>
                    <a:pt x="282" y="1084"/>
                  </a:cubicBezTo>
                  <a:cubicBezTo>
                    <a:pt x="285" y="1088"/>
                    <a:pt x="290" y="1091"/>
                    <a:pt x="296" y="1091"/>
                  </a:cubicBezTo>
                  <a:lnTo>
                    <a:pt x="767" y="1091"/>
                  </a:lnTo>
                  <a:cubicBezTo>
                    <a:pt x="772" y="1091"/>
                    <a:pt x="777" y="1089"/>
                    <a:pt x="780" y="1084"/>
                  </a:cubicBezTo>
                  <a:cubicBezTo>
                    <a:pt x="783" y="1080"/>
                    <a:pt x="784" y="1075"/>
                    <a:pt x="783" y="1070"/>
                  </a:cubicBezTo>
                  <a:cubicBezTo>
                    <a:pt x="709" y="796"/>
                    <a:pt x="725" y="763"/>
                    <a:pt x="778" y="653"/>
                  </a:cubicBezTo>
                  <a:cubicBezTo>
                    <a:pt x="792" y="623"/>
                    <a:pt x="809" y="589"/>
                    <a:pt x="827" y="543"/>
                  </a:cubicBezTo>
                  <a:cubicBezTo>
                    <a:pt x="827" y="542"/>
                    <a:pt x="827" y="542"/>
                    <a:pt x="827" y="542"/>
                  </a:cubicBezTo>
                  <a:cubicBezTo>
                    <a:pt x="852" y="469"/>
                    <a:pt x="856" y="396"/>
                    <a:pt x="839" y="32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0" name="Freeform 174">
              <a:extLst>
                <a:ext uri="{FF2B5EF4-FFF2-40B4-BE49-F238E27FC236}">
                  <a16:creationId xmlns:a16="http://schemas.microsoft.com/office/drawing/2014/main" id="{54DFEEDB-9C31-43E3-BE20-90DFCFA91698}"/>
                </a:ext>
              </a:extLst>
            </p:cNvPr>
            <p:cNvSpPr>
              <a:spLocks noEditPoints="1"/>
            </p:cNvSpPr>
            <p:nvPr/>
          </p:nvSpPr>
          <p:spPr bwMode="auto">
            <a:xfrm>
              <a:off x="663575" y="4737101"/>
              <a:ext cx="174625" cy="123825"/>
            </a:xfrm>
            <a:custGeom>
              <a:avLst/>
              <a:gdLst>
                <a:gd name="T0" fmla="*/ 48 w 292"/>
                <a:gd name="T1" fmla="*/ 176 h 209"/>
                <a:gd name="T2" fmla="*/ 33 w 292"/>
                <a:gd name="T3" fmla="*/ 161 h 209"/>
                <a:gd name="T4" fmla="*/ 48 w 292"/>
                <a:gd name="T5" fmla="*/ 146 h 209"/>
                <a:gd name="T6" fmla="*/ 62 w 292"/>
                <a:gd name="T7" fmla="*/ 161 h 209"/>
                <a:gd name="T8" fmla="*/ 48 w 292"/>
                <a:gd name="T9" fmla="*/ 176 h 209"/>
                <a:gd name="T10" fmla="*/ 264 w 292"/>
                <a:gd name="T11" fmla="*/ 4 h 209"/>
                <a:gd name="T12" fmla="*/ 77 w 292"/>
                <a:gd name="T13" fmla="*/ 123 h 209"/>
                <a:gd name="T14" fmla="*/ 48 w 292"/>
                <a:gd name="T15" fmla="*/ 113 h 209"/>
                <a:gd name="T16" fmla="*/ 0 w 292"/>
                <a:gd name="T17" fmla="*/ 161 h 209"/>
                <a:gd name="T18" fmla="*/ 48 w 292"/>
                <a:gd name="T19" fmla="*/ 209 h 209"/>
                <a:gd name="T20" fmla="*/ 96 w 292"/>
                <a:gd name="T21" fmla="*/ 161 h 209"/>
                <a:gd name="T22" fmla="*/ 95 w 292"/>
                <a:gd name="T23" fmla="*/ 151 h 209"/>
                <a:gd name="T24" fmla="*/ 282 w 292"/>
                <a:gd name="T25" fmla="*/ 33 h 209"/>
                <a:gd name="T26" fmla="*/ 287 w 292"/>
                <a:gd name="T27" fmla="*/ 10 h 209"/>
                <a:gd name="T28" fmla="*/ 264 w 292"/>
                <a:gd name="T29"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209">
                  <a:moveTo>
                    <a:pt x="48" y="176"/>
                  </a:moveTo>
                  <a:cubicBezTo>
                    <a:pt x="40" y="176"/>
                    <a:pt x="33" y="169"/>
                    <a:pt x="33" y="161"/>
                  </a:cubicBezTo>
                  <a:cubicBezTo>
                    <a:pt x="33" y="153"/>
                    <a:pt x="40" y="146"/>
                    <a:pt x="48" y="146"/>
                  </a:cubicBezTo>
                  <a:cubicBezTo>
                    <a:pt x="56" y="146"/>
                    <a:pt x="62" y="153"/>
                    <a:pt x="62" y="161"/>
                  </a:cubicBezTo>
                  <a:cubicBezTo>
                    <a:pt x="62" y="169"/>
                    <a:pt x="56" y="176"/>
                    <a:pt x="48" y="176"/>
                  </a:cubicBezTo>
                  <a:close/>
                  <a:moveTo>
                    <a:pt x="264" y="4"/>
                  </a:moveTo>
                  <a:lnTo>
                    <a:pt x="77" y="123"/>
                  </a:lnTo>
                  <a:cubicBezTo>
                    <a:pt x="69" y="117"/>
                    <a:pt x="59" y="113"/>
                    <a:pt x="48" y="113"/>
                  </a:cubicBezTo>
                  <a:cubicBezTo>
                    <a:pt x="21" y="113"/>
                    <a:pt x="0" y="135"/>
                    <a:pt x="0" y="161"/>
                  </a:cubicBezTo>
                  <a:cubicBezTo>
                    <a:pt x="0" y="188"/>
                    <a:pt x="21" y="209"/>
                    <a:pt x="48" y="209"/>
                  </a:cubicBezTo>
                  <a:cubicBezTo>
                    <a:pt x="74" y="209"/>
                    <a:pt x="96" y="188"/>
                    <a:pt x="96" y="161"/>
                  </a:cubicBezTo>
                  <a:cubicBezTo>
                    <a:pt x="96" y="158"/>
                    <a:pt x="95" y="154"/>
                    <a:pt x="95" y="151"/>
                  </a:cubicBezTo>
                  <a:lnTo>
                    <a:pt x="282" y="33"/>
                  </a:lnTo>
                  <a:cubicBezTo>
                    <a:pt x="290" y="28"/>
                    <a:pt x="292" y="17"/>
                    <a:pt x="287" y="10"/>
                  </a:cubicBezTo>
                  <a:cubicBezTo>
                    <a:pt x="282" y="2"/>
                    <a:pt x="272" y="0"/>
                    <a:pt x="264" y="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1" name="Freeform 175">
              <a:extLst>
                <a:ext uri="{FF2B5EF4-FFF2-40B4-BE49-F238E27FC236}">
                  <a16:creationId xmlns:a16="http://schemas.microsoft.com/office/drawing/2014/main" id="{A9B205E1-813A-4DCC-86F4-BA223D4B445B}"/>
                </a:ext>
              </a:extLst>
            </p:cNvPr>
            <p:cNvSpPr>
              <a:spLocks/>
            </p:cNvSpPr>
            <p:nvPr/>
          </p:nvSpPr>
          <p:spPr bwMode="auto">
            <a:xfrm>
              <a:off x="523875" y="4664076"/>
              <a:ext cx="292100" cy="179388"/>
            </a:xfrm>
            <a:custGeom>
              <a:avLst/>
              <a:gdLst>
                <a:gd name="T0" fmla="*/ 460 w 491"/>
                <a:gd name="T1" fmla="*/ 106 h 300"/>
                <a:gd name="T2" fmla="*/ 484 w 491"/>
                <a:gd name="T3" fmla="*/ 106 h 300"/>
                <a:gd name="T4" fmla="*/ 484 w 491"/>
                <a:gd name="T5" fmla="*/ 83 h 300"/>
                <a:gd name="T6" fmla="*/ 284 w 491"/>
                <a:gd name="T7" fmla="*/ 0 h 300"/>
                <a:gd name="T8" fmla="*/ 0 w 491"/>
                <a:gd name="T9" fmla="*/ 283 h 300"/>
                <a:gd name="T10" fmla="*/ 17 w 491"/>
                <a:gd name="T11" fmla="*/ 300 h 300"/>
                <a:gd name="T12" fmla="*/ 34 w 491"/>
                <a:gd name="T13" fmla="*/ 283 h 300"/>
                <a:gd name="T14" fmla="*/ 284 w 491"/>
                <a:gd name="T15" fmla="*/ 33 h 300"/>
                <a:gd name="T16" fmla="*/ 460 w 491"/>
                <a:gd name="T17" fmla="*/ 1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300">
                  <a:moveTo>
                    <a:pt x="460" y="106"/>
                  </a:moveTo>
                  <a:cubicBezTo>
                    <a:pt x="467" y="113"/>
                    <a:pt x="478" y="113"/>
                    <a:pt x="484" y="106"/>
                  </a:cubicBezTo>
                  <a:cubicBezTo>
                    <a:pt x="491" y="100"/>
                    <a:pt x="491" y="89"/>
                    <a:pt x="484" y="83"/>
                  </a:cubicBezTo>
                  <a:cubicBezTo>
                    <a:pt x="431" y="29"/>
                    <a:pt x="359" y="0"/>
                    <a:pt x="284" y="0"/>
                  </a:cubicBezTo>
                  <a:cubicBezTo>
                    <a:pt x="127" y="0"/>
                    <a:pt x="0" y="127"/>
                    <a:pt x="0" y="283"/>
                  </a:cubicBezTo>
                  <a:cubicBezTo>
                    <a:pt x="0" y="292"/>
                    <a:pt x="8" y="300"/>
                    <a:pt x="17" y="300"/>
                  </a:cubicBezTo>
                  <a:cubicBezTo>
                    <a:pt x="26" y="300"/>
                    <a:pt x="34" y="292"/>
                    <a:pt x="34" y="283"/>
                  </a:cubicBezTo>
                  <a:cubicBezTo>
                    <a:pt x="34" y="145"/>
                    <a:pt x="146" y="33"/>
                    <a:pt x="284" y="33"/>
                  </a:cubicBezTo>
                  <a:cubicBezTo>
                    <a:pt x="351" y="33"/>
                    <a:pt x="413" y="59"/>
                    <a:pt x="460" y="10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51" name="Rectangle 111"/>
          <p:cNvSpPr/>
          <p:nvPr/>
        </p:nvSpPr>
        <p:spPr>
          <a:xfrm>
            <a:off x="677432" y="2600866"/>
            <a:ext cx="5239952" cy="213553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ltLang="ja-JP" dirty="0">
              <a:solidFill>
                <a:srgbClr val="DDDDDD">
                  <a:lumMod val="10000"/>
                </a:srgbClr>
              </a:solidFill>
            </a:endParaRPr>
          </a:p>
          <a:p>
            <a:endParaRPr lang="en-US" altLang="ja-JP" dirty="0">
              <a:solidFill>
                <a:srgbClr val="DDDDDD">
                  <a:lumMod val="10000"/>
                </a:srgbClr>
              </a:solidFill>
            </a:endParaRPr>
          </a:p>
          <a:p>
            <a:r>
              <a:rPr lang="ja-JP" altLang="en-US" sz="1600" dirty="0">
                <a:solidFill>
                  <a:srgbClr val="DDDDDD">
                    <a:lumMod val="10000"/>
                  </a:srgbClr>
                </a:solidFill>
              </a:rPr>
              <a:t>           </a:t>
            </a:r>
            <a:r>
              <a:rPr lang="ja-JP" altLang="es-ES" sz="1600" dirty="0">
                <a:solidFill>
                  <a:srgbClr val="DDDDDD">
                    <a:lumMod val="10000"/>
                  </a:srgbClr>
                </a:solidFill>
              </a:rPr>
              <a:t>プロセスマイニングで短期間かつ正確に</a:t>
            </a:r>
            <a:endParaRPr lang="es-ES" altLang="ja-JP" sz="1600" dirty="0">
              <a:solidFill>
                <a:srgbClr val="DDDDDD">
                  <a:lumMod val="10000"/>
                </a:srgbClr>
              </a:solidFill>
            </a:endParaRPr>
          </a:p>
          <a:p>
            <a:r>
              <a:rPr lang="ja-JP" altLang="es-ES" sz="1600" dirty="0">
                <a:solidFill>
                  <a:srgbClr val="DDDDDD">
                    <a:lumMod val="10000"/>
                  </a:srgbClr>
                </a:solidFill>
              </a:rPr>
              <a:t>　　　業務可視化し、自動化対象の業務を洗い出し。</a:t>
            </a:r>
            <a:endParaRPr lang="es-ES" altLang="ja-JP" sz="1600" dirty="0">
              <a:solidFill>
                <a:srgbClr val="DDDDDD">
                  <a:lumMod val="10000"/>
                </a:srgbClr>
              </a:solidFill>
            </a:endParaRPr>
          </a:p>
          <a:p>
            <a:endParaRPr lang="es-ES" altLang="ja-JP" sz="1600" dirty="0">
              <a:solidFill>
                <a:srgbClr val="DDDDDD">
                  <a:lumMod val="10000"/>
                </a:srgbClr>
              </a:solidFill>
            </a:endParaRPr>
          </a:p>
          <a:p>
            <a:r>
              <a:rPr lang="ja-JP" altLang="es-ES" sz="1600" dirty="0">
                <a:solidFill>
                  <a:srgbClr val="DDDDDD">
                    <a:lumMod val="10000"/>
                  </a:srgbClr>
                </a:solidFill>
              </a:rPr>
              <a:t>　　　候補業務リスト内で</a:t>
            </a:r>
            <a:r>
              <a:rPr lang="es-ES" altLang="ja-JP" sz="1600" dirty="0">
                <a:solidFill>
                  <a:srgbClr val="DDDDDD">
                    <a:lumMod val="10000"/>
                  </a:srgbClr>
                </a:solidFill>
              </a:rPr>
              <a:t>KPI</a:t>
            </a:r>
            <a:r>
              <a:rPr lang="ja-JP" altLang="es-ES" sz="1600" dirty="0">
                <a:solidFill>
                  <a:srgbClr val="DDDDDD">
                    <a:lumMod val="10000"/>
                  </a:srgbClr>
                </a:solidFill>
              </a:rPr>
              <a:t>に従い優先順位付けをし</a:t>
            </a:r>
            <a:endParaRPr lang="es-ES" altLang="ja-JP" sz="1600" dirty="0">
              <a:solidFill>
                <a:srgbClr val="DDDDDD">
                  <a:lumMod val="10000"/>
                </a:srgbClr>
              </a:solidFill>
            </a:endParaRPr>
          </a:p>
          <a:p>
            <a:r>
              <a:rPr lang="ja-JP" altLang="es-ES" sz="1600" dirty="0">
                <a:solidFill>
                  <a:srgbClr val="DDDDDD">
                    <a:lumMod val="10000"/>
                  </a:srgbClr>
                </a:solidFill>
              </a:rPr>
              <a:t>　　　効果が最大限に出るプロセス等の</a:t>
            </a:r>
            <a:r>
              <a:rPr lang="es-ES" altLang="ja-JP" sz="1600" dirty="0">
                <a:solidFill>
                  <a:srgbClr val="DDDDDD">
                    <a:lumMod val="10000"/>
                  </a:srgbClr>
                </a:solidFill>
              </a:rPr>
              <a:t>Tier1</a:t>
            </a:r>
            <a:r>
              <a:rPr lang="ja-JP" altLang="es-ES" sz="1600" dirty="0">
                <a:solidFill>
                  <a:srgbClr val="DDDDDD">
                    <a:lumMod val="10000"/>
                  </a:srgbClr>
                </a:solidFill>
              </a:rPr>
              <a:t>層の</a:t>
            </a:r>
            <a:endParaRPr lang="es-ES" altLang="ja-JP" sz="1600" dirty="0">
              <a:solidFill>
                <a:srgbClr val="DDDDDD">
                  <a:lumMod val="10000"/>
                </a:srgbClr>
              </a:solidFill>
            </a:endParaRPr>
          </a:p>
          <a:p>
            <a:r>
              <a:rPr lang="ja-JP" altLang="es-ES" sz="1600" dirty="0">
                <a:solidFill>
                  <a:srgbClr val="DDDDDD">
                    <a:lumMod val="10000"/>
                  </a:srgbClr>
                </a:solidFill>
              </a:rPr>
              <a:t>　　　</a:t>
            </a:r>
            <a:r>
              <a:rPr lang="es-ES" altLang="ja-JP" sz="1600" dirty="0">
                <a:solidFill>
                  <a:srgbClr val="DDDDDD">
                    <a:lumMod val="10000"/>
                  </a:srgbClr>
                </a:solidFill>
              </a:rPr>
              <a:t>20</a:t>
            </a:r>
            <a:r>
              <a:rPr lang="ja-JP" altLang="es-ES" sz="1600" dirty="0">
                <a:solidFill>
                  <a:srgbClr val="DDDDDD">
                    <a:lumMod val="10000"/>
                  </a:srgbClr>
                </a:solidFill>
              </a:rPr>
              <a:t>以上の業務を自動化。</a:t>
            </a:r>
            <a:endParaRPr lang="es-ES" altLang="ja-JP" sz="1600" dirty="0">
              <a:solidFill>
                <a:srgbClr val="DDDDDD">
                  <a:lumMod val="10000"/>
                </a:srgbClr>
              </a:solidFill>
            </a:endParaRPr>
          </a:p>
        </p:txBody>
      </p:sp>
      <p:grpSp>
        <p:nvGrpSpPr>
          <p:cNvPr id="52" name="Group 14">
            <a:extLst>
              <a:ext uri="{FF2B5EF4-FFF2-40B4-BE49-F238E27FC236}">
                <a16:creationId xmlns:a16="http://schemas.microsoft.com/office/drawing/2014/main" id="{1C37A94A-2FB5-48D0-A786-B43F2FD416E0}"/>
              </a:ext>
            </a:extLst>
          </p:cNvPr>
          <p:cNvGrpSpPr/>
          <p:nvPr/>
        </p:nvGrpSpPr>
        <p:grpSpPr>
          <a:xfrm>
            <a:off x="740449" y="2636532"/>
            <a:ext cx="552985" cy="552985"/>
            <a:chOff x="761861" y="3510594"/>
            <a:chExt cx="552985" cy="552985"/>
          </a:xfrm>
        </p:grpSpPr>
        <p:sp>
          <p:nvSpPr>
            <p:cNvPr id="53"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54"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55" name="Identification">
              <a:extLst>
                <a:ext uri="{FF2B5EF4-FFF2-40B4-BE49-F238E27FC236}">
                  <a16:creationId xmlns:a16="http://schemas.microsoft.com/office/drawing/2014/main" id="{985152F4-D0AD-4849-84AF-E45ED4C87A0A}"/>
                </a:ext>
              </a:extLst>
            </p:cNvPr>
            <p:cNvSpPr>
              <a:spLocks/>
            </p:cNvSpPr>
            <p:nvPr>
              <p:custDataLst>
                <p:tags r:id="rId3"/>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42" name="Climbing2" descr="{&quot;Key&quot;:&quot;POWER_USER_SHAPE_ICON&quot;,&quot;Value&quot;:&quot;POWER_USER_SHAPE_ICON_STYLE_1&quot;}">
            <a:extLst>
              <a:ext uri="{FF2B5EF4-FFF2-40B4-BE49-F238E27FC236}">
                <a16:creationId xmlns:a16="http://schemas.microsoft.com/office/drawing/2014/main" id="{228A1D72-A9A9-445D-B6CC-F6B0A41A709F}"/>
              </a:ext>
            </a:extLst>
          </p:cNvPr>
          <p:cNvGrpSpPr>
            <a:grpSpLocks noChangeAspect="1"/>
          </p:cNvGrpSpPr>
          <p:nvPr>
            <p:custDataLst>
              <p:tags r:id="rId1"/>
            </p:custDataLst>
          </p:nvPr>
        </p:nvGrpSpPr>
        <p:grpSpPr>
          <a:xfrm>
            <a:off x="821175" y="2659456"/>
            <a:ext cx="409810" cy="504650"/>
            <a:chOff x="5856288" y="-142875"/>
            <a:chExt cx="1303337" cy="1604963"/>
          </a:xfrm>
          <a:noFill/>
        </p:grpSpPr>
        <p:sp>
          <p:nvSpPr>
            <p:cNvPr id="43" name="Freeform 342">
              <a:extLst>
                <a:ext uri="{FF2B5EF4-FFF2-40B4-BE49-F238E27FC236}">
                  <a16:creationId xmlns:a16="http://schemas.microsoft.com/office/drawing/2014/main" id="{215C6E88-CEB4-49D9-85FF-04FCE3F2A456}"/>
                </a:ext>
              </a:extLst>
            </p:cNvPr>
            <p:cNvSpPr>
              <a:spLocks/>
            </p:cNvSpPr>
            <p:nvPr/>
          </p:nvSpPr>
          <p:spPr bwMode="auto">
            <a:xfrm>
              <a:off x="6743700" y="550863"/>
              <a:ext cx="415925" cy="331788"/>
            </a:xfrm>
            <a:custGeom>
              <a:avLst/>
              <a:gdLst>
                <a:gd name="T0" fmla="*/ 89 w 547"/>
                <a:gd name="T1" fmla="*/ 401 h 435"/>
                <a:gd name="T2" fmla="*/ 0 w 547"/>
                <a:gd name="T3" fmla="*/ 230 h 435"/>
                <a:gd name="T4" fmla="*/ 224 w 547"/>
                <a:gd name="T5" fmla="*/ 251 h 435"/>
                <a:gd name="T6" fmla="*/ 333 w 547"/>
                <a:gd name="T7" fmla="*/ 195 h 435"/>
                <a:gd name="T8" fmla="*/ 446 w 547"/>
                <a:gd name="T9" fmla="*/ 0 h 435"/>
                <a:gd name="T10" fmla="*/ 534 w 547"/>
                <a:gd name="T11" fmla="*/ 170 h 435"/>
                <a:gd name="T12" fmla="*/ 513 w 547"/>
                <a:gd name="T13" fmla="*/ 238 h 435"/>
                <a:gd name="T14" fmla="*/ 156 w 547"/>
                <a:gd name="T15" fmla="*/ 422 h 435"/>
                <a:gd name="T16" fmla="*/ 89 w 547"/>
                <a:gd name="T17" fmla="*/ 4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435">
                  <a:moveTo>
                    <a:pt x="89" y="401"/>
                  </a:moveTo>
                  <a:cubicBezTo>
                    <a:pt x="67" y="358"/>
                    <a:pt x="33" y="294"/>
                    <a:pt x="0" y="230"/>
                  </a:cubicBezTo>
                  <a:cubicBezTo>
                    <a:pt x="86" y="238"/>
                    <a:pt x="165" y="246"/>
                    <a:pt x="224" y="251"/>
                  </a:cubicBezTo>
                  <a:cubicBezTo>
                    <a:pt x="264" y="255"/>
                    <a:pt x="313" y="229"/>
                    <a:pt x="333" y="195"/>
                  </a:cubicBezTo>
                  <a:cubicBezTo>
                    <a:pt x="363" y="143"/>
                    <a:pt x="403" y="74"/>
                    <a:pt x="446" y="0"/>
                  </a:cubicBezTo>
                  <a:cubicBezTo>
                    <a:pt x="479" y="64"/>
                    <a:pt x="512" y="128"/>
                    <a:pt x="534" y="170"/>
                  </a:cubicBezTo>
                  <a:cubicBezTo>
                    <a:pt x="547" y="195"/>
                    <a:pt x="537" y="225"/>
                    <a:pt x="513" y="238"/>
                  </a:cubicBezTo>
                  <a:cubicBezTo>
                    <a:pt x="430" y="280"/>
                    <a:pt x="239" y="379"/>
                    <a:pt x="156" y="422"/>
                  </a:cubicBezTo>
                  <a:cubicBezTo>
                    <a:pt x="131" y="435"/>
                    <a:pt x="101" y="425"/>
                    <a:pt x="89" y="401"/>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4" name="Freeform 343">
              <a:extLst>
                <a:ext uri="{FF2B5EF4-FFF2-40B4-BE49-F238E27FC236}">
                  <a16:creationId xmlns:a16="http://schemas.microsoft.com/office/drawing/2014/main" id="{F70D456F-3EE2-48DD-A0BE-79A5782B576D}"/>
                </a:ext>
              </a:extLst>
            </p:cNvPr>
            <p:cNvSpPr>
              <a:spLocks noEditPoints="1"/>
            </p:cNvSpPr>
            <p:nvPr/>
          </p:nvSpPr>
          <p:spPr bwMode="auto">
            <a:xfrm>
              <a:off x="6702425" y="471488"/>
              <a:ext cx="374650" cy="249238"/>
            </a:xfrm>
            <a:custGeom>
              <a:avLst/>
              <a:gdLst>
                <a:gd name="T0" fmla="*/ 163 w 491"/>
                <a:gd name="T1" fmla="*/ 142 h 327"/>
                <a:gd name="T2" fmla="*/ 204 w 491"/>
                <a:gd name="T3" fmla="*/ 79 h 327"/>
                <a:gd name="T4" fmla="*/ 280 w 491"/>
                <a:gd name="T5" fmla="*/ 82 h 327"/>
                <a:gd name="T6" fmla="*/ 163 w 491"/>
                <a:gd name="T7" fmla="*/ 142 h 327"/>
                <a:gd name="T8" fmla="*/ 12 w 491"/>
                <a:gd name="T9" fmla="*/ 278 h 327"/>
                <a:gd name="T10" fmla="*/ 25 w 491"/>
                <a:gd name="T11" fmla="*/ 303 h 327"/>
                <a:gd name="T12" fmla="*/ 271 w 491"/>
                <a:gd name="T13" fmla="*/ 326 h 327"/>
                <a:gd name="T14" fmla="*/ 325 w 491"/>
                <a:gd name="T15" fmla="*/ 314 h 327"/>
                <a:gd name="T16" fmla="*/ 367 w 491"/>
                <a:gd name="T17" fmla="*/ 276 h 327"/>
                <a:gd name="T18" fmla="*/ 491 w 491"/>
                <a:gd name="T19" fmla="*/ 62 h 327"/>
                <a:gd name="T20" fmla="*/ 478 w 491"/>
                <a:gd name="T21" fmla="*/ 37 h 327"/>
                <a:gd name="T22" fmla="*/ 409 w 491"/>
                <a:gd name="T23" fmla="*/ 15 h 327"/>
                <a:gd name="T24" fmla="*/ 323 w 491"/>
                <a:gd name="T25" fmla="*/ 59 h 327"/>
                <a:gd name="T26" fmla="*/ 308 w 491"/>
                <a:gd name="T27" fmla="*/ 53 h 327"/>
                <a:gd name="T28" fmla="*/ 186 w 491"/>
                <a:gd name="T29" fmla="*/ 43 h 327"/>
                <a:gd name="T30" fmla="*/ 123 w 491"/>
                <a:gd name="T31" fmla="*/ 148 h 327"/>
                <a:gd name="T32" fmla="*/ 119 w 491"/>
                <a:gd name="T33" fmla="*/ 165 h 327"/>
                <a:gd name="T34" fmla="*/ 33 w 491"/>
                <a:gd name="T35" fmla="*/ 209 h 327"/>
                <a:gd name="T36" fmla="*/ 12 w 491"/>
                <a:gd name="T37" fmla="*/ 27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327">
                  <a:moveTo>
                    <a:pt x="163" y="142"/>
                  </a:moveTo>
                  <a:cubicBezTo>
                    <a:pt x="164" y="120"/>
                    <a:pt x="169" y="97"/>
                    <a:pt x="204" y="79"/>
                  </a:cubicBezTo>
                  <a:cubicBezTo>
                    <a:pt x="240" y="60"/>
                    <a:pt x="261" y="70"/>
                    <a:pt x="280" y="82"/>
                  </a:cubicBezTo>
                  <a:cubicBezTo>
                    <a:pt x="242" y="101"/>
                    <a:pt x="201" y="122"/>
                    <a:pt x="163" y="142"/>
                  </a:cubicBezTo>
                  <a:close/>
                  <a:moveTo>
                    <a:pt x="12" y="278"/>
                  </a:moveTo>
                  <a:cubicBezTo>
                    <a:pt x="17" y="288"/>
                    <a:pt x="25" y="303"/>
                    <a:pt x="25" y="303"/>
                  </a:cubicBezTo>
                  <a:lnTo>
                    <a:pt x="271" y="326"/>
                  </a:lnTo>
                  <a:cubicBezTo>
                    <a:pt x="288" y="327"/>
                    <a:pt x="307" y="323"/>
                    <a:pt x="325" y="314"/>
                  </a:cubicBezTo>
                  <a:cubicBezTo>
                    <a:pt x="343" y="304"/>
                    <a:pt x="359" y="291"/>
                    <a:pt x="367" y="276"/>
                  </a:cubicBezTo>
                  <a:lnTo>
                    <a:pt x="491" y="62"/>
                  </a:lnTo>
                  <a:cubicBezTo>
                    <a:pt x="491" y="62"/>
                    <a:pt x="483" y="47"/>
                    <a:pt x="478" y="37"/>
                  </a:cubicBezTo>
                  <a:cubicBezTo>
                    <a:pt x="466" y="15"/>
                    <a:pt x="438" y="0"/>
                    <a:pt x="409" y="15"/>
                  </a:cubicBezTo>
                  <a:cubicBezTo>
                    <a:pt x="397" y="21"/>
                    <a:pt x="354" y="43"/>
                    <a:pt x="323" y="59"/>
                  </a:cubicBezTo>
                  <a:cubicBezTo>
                    <a:pt x="319" y="61"/>
                    <a:pt x="312" y="55"/>
                    <a:pt x="308" y="53"/>
                  </a:cubicBezTo>
                  <a:cubicBezTo>
                    <a:pt x="286" y="38"/>
                    <a:pt x="246" y="12"/>
                    <a:pt x="186" y="43"/>
                  </a:cubicBezTo>
                  <a:cubicBezTo>
                    <a:pt x="125" y="75"/>
                    <a:pt x="124" y="123"/>
                    <a:pt x="123" y="148"/>
                  </a:cubicBezTo>
                  <a:cubicBezTo>
                    <a:pt x="122" y="153"/>
                    <a:pt x="123" y="163"/>
                    <a:pt x="119" y="165"/>
                  </a:cubicBezTo>
                  <a:cubicBezTo>
                    <a:pt x="81" y="184"/>
                    <a:pt x="45" y="203"/>
                    <a:pt x="33" y="209"/>
                  </a:cubicBezTo>
                  <a:cubicBezTo>
                    <a:pt x="5" y="224"/>
                    <a:pt x="0" y="256"/>
                    <a:pt x="12" y="278"/>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5" name="Freeform 344">
              <a:extLst>
                <a:ext uri="{FF2B5EF4-FFF2-40B4-BE49-F238E27FC236}">
                  <a16:creationId xmlns:a16="http://schemas.microsoft.com/office/drawing/2014/main" id="{AB850D52-7610-4541-8690-94ED94618155}"/>
                </a:ext>
              </a:extLst>
            </p:cNvPr>
            <p:cNvSpPr>
              <a:spLocks noEditPoints="1"/>
            </p:cNvSpPr>
            <p:nvPr/>
          </p:nvSpPr>
          <p:spPr bwMode="auto">
            <a:xfrm>
              <a:off x="6015038" y="138113"/>
              <a:ext cx="846138" cy="1042988"/>
            </a:xfrm>
            <a:custGeom>
              <a:avLst/>
              <a:gdLst>
                <a:gd name="T0" fmla="*/ 491 w 1111"/>
                <a:gd name="T1" fmla="*/ 131 h 1370"/>
                <a:gd name="T2" fmla="*/ 504 w 1111"/>
                <a:gd name="T3" fmla="*/ 92 h 1370"/>
                <a:gd name="T4" fmla="*/ 525 w 1111"/>
                <a:gd name="T5" fmla="*/ 80 h 1370"/>
                <a:gd name="T6" fmla="*/ 550 w 1111"/>
                <a:gd name="T7" fmla="*/ 83 h 1370"/>
                <a:gd name="T8" fmla="*/ 577 w 1111"/>
                <a:gd name="T9" fmla="*/ 113 h 1370"/>
                <a:gd name="T10" fmla="*/ 576 w 1111"/>
                <a:gd name="T11" fmla="*/ 140 h 1370"/>
                <a:gd name="T12" fmla="*/ 565 w 1111"/>
                <a:gd name="T13" fmla="*/ 182 h 1370"/>
                <a:gd name="T14" fmla="*/ 673 w 1111"/>
                <a:gd name="T15" fmla="*/ 415 h 1370"/>
                <a:gd name="T16" fmla="*/ 617 w 1111"/>
                <a:gd name="T17" fmla="*/ 515 h 1370"/>
                <a:gd name="T18" fmla="*/ 525 w 1111"/>
                <a:gd name="T19" fmla="*/ 446 h 1370"/>
                <a:gd name="T20" fmla="*/ 531 w 1111"/>
                <a:gd name="T21" fmla="*/ 190 h 1370"/>
                <a:gd name="T22" fmla="*/ 503 w 1111"/>
                <a:gd name="T23" fmla="*/ 155 h 1370"/>
                <a:gd name="T24" fmla="*/ 491 w 1111"/>
                <a:gd name="T25" fmla="*/ 131 h 1370"/>
                <a:gd name="T26" fmla="*/ 374 w 1111"/>
                <a:gd name="T27" fmla="*/ 302 h 1370"/>
                <a:gd name="T28" fmla="*/ 442 w 1111"/>
                <a:gd name="T29" fmla="*/ 621 h 1370"/>
                <a:gd name="T30" fmla="*/ 303 w 1111"/>
                <a:gd name="T31" fmla="*/ 656 h 1370"/>
                <a:gd name="T32" fmla="*/ 266 w 1111"/>
                <a:gd name="T33" fmla="*/ 764 h 1370"/>
                <a:gd name="T34" fmla="*/ 357 w 1111"/>
                <a:gd name="T35" fmla="*/ 1000 h 1370"/>
                <a:gd name="T36" fmla="*/ 305 w 1111"/>
                <a:gd name="T37" fmla="*/ 1023 h 1370"/>
                <a:gd name="T38" fmla="*/ 315 w 1111"/>
                <a:gd name="T39" fmla="*/ 1080 h 1370"/>
                <a:gd name="T40" fmla="*/ 458 w 1111"/>
                <a:gd name="T41" fmla="*/ 1080 h 1370"/>
                <a:gd name="T42" fmla="*/ 495 w 1111"/>
                <a:gd name="T43" fmla="*/ 1020 h 1370"/>
                <a:gd name="T44" fmla="*/ 442 w 1111"/>
                <a:gd name="T45" fmla="*/ 800 h 1370"/>
                <a:gd name="T46" fmla="*/ 674 w 1111"/>
                <a:gd name="T47" fmla="*/ 787 h 1370"/>
                <a:gd name="T48" fmla="*/ 788 w 1111"/>
                <a:gd name="T49" fmla="*/ 1283 h 1370"/>
                <a:gd name="T50" fmla="*/ 739 w 1111"/>
                <a:gd name="T51" fmla="*/ 1311 h 1370"/>
                <a:gd name="T52" fmla="*/ 751 w 1111"/>
                <a:gd name="T53" fmla="*/ 1370 h 1370"/>
                <a:gd name="T54" fmla="*/ 894 w 1111"/>
                <a:gd name="T55" fmla="*/ 1370 h 1370"/>
                <a:gd name="T56" fmla="*/ 930 w 1111"/>
                <a:gd name="T57" fmla="*/ 1314 h 1370"/>
                <a:gd name="T58" fmla="*/ 753 w 1111"/>
                <a:gd name="T59" fmla="*/ 222 h 1370"/>
                <a:gd name="T60" fmla="*/ 903 w 1111"/>
                <a:gd name="T61" fmla="*/ 286 h 1370"/>
                <a:gd name="T62" fmla="*/ 992 w 1111"/>
                <a:gd name="T63" fmla="*/ 436 h 1370"/>
                <a:gd name="T64" fmla="*/ 1046 w 1111"/>
                <a:gd name="T65" fmla="*/ 458 h 1370"/>
                <a:gd name="T66" fmla="*/ 1093 w 1111"/>
                <a:gd name="T67" fmla="*/ 433 h 1370"/>
                <a:gd name="T68" fmla="*/ 1094 w 1111"/>
                <a:gd name="T69" fmla="*/ 371 h 1370"/>
                <a:gd name="T70" fmla="*/ 1027 w 1111"/>
                <a:gd name="T71" fmla="*/ 236 h 1370"/>
                <a:gd name="T72" fmla="*/ 941 w 1111"/>
                <a:gd name="T73" fmla="*/ 142 h 1370"/>
                <a:gd name="T74" fmla="*/ 793 w 1111"/>
                <a:gd name="T75" fmla="*/ 48 h 1370"/>
                <a:gd name="T76" fmla="*/ 669 w 1111"/>
                <a:gd name="T77" fmla="*/ 9 h 1370"/>
                <a:gd name="T78" fmla="*/ 517 w 1111"/>
                <a:gd name="T79" fmla="*/ 40 h 1370"/>
                <a:gd name="T80" fmla="*/ 365 w 1111"/>
                <a:gd name="T81" fmla="*/ 72 h 1370"/>
                <a:gd name="T82" fmla="*/ 259 w 1111"/>
                <a:gd name="T83" fmla="*/ 175 h 1370"/>
                <a:gd name="T84" fmla="*/ 204 w 1111"/>
                <a:gd name="T85" fmla="*/ 272 h 1370"/>
                <a:gd name="T86" fmla="*/ 117 w 1111"/>
                <a:gd name="T87" fmla="*/ 177 h 1370"/>
                <a:gd name="T88" fmla="*/ 59 w 1111"/>
                <a:gd name="T89" fmla="*/ 154 h 1370"/>
                <a:gd name="T90" fmla="*/ 18 w 1111"/>
                <a:gd name="T91" fmla="*/ 189 h 1370"/>
                <a:gd name="T92" fmla="*/ 19 w 1111"/>
                <a:gd name="T93" fmla="*/ 247 h 1370"/>
                <a:gd name="T94" fmla="*/ 158 w 1111"/>
                <a:gd name="T95" fmla="*/ 420 h 1370"/>
                <a:gd name="T96" fmla="*/ 286 w 1111"/>
                <a:gd name="T97" fmla="*/ 414 h 1370"/>
                <a:gd name="T98" fmla="*/ 374 w 1111"/>
                <a:gd name="T99" fmla="*/ 30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370">
                  <a:moveTo>
                    <a:pt x="491" y="131"/>
                  </a:moveTo>
                  <a:cubicBezTo>
                    <a:pt x="495" y="121"/>
                    <a:pt x="499" y="107"/>
                    <a:pt x="504" y="92"/>
                  </a:cubicBezTo>
                  <a:cubicBezTo>
                    <a:pt x="506" y="86"/>
                    <a:pt x="515" y="82"/>
                    <a:pt x="525" y="80"/>
                  </a:cubicBezTo>
                  <a:cubicBezTo>
                    <a:pt x="536" y="78"/>
                    <a:pt x="545" y="78"/>
                    <a:pt x="550" y="83"/>
                  </a:cubicBezTo>
                  <a:cubicBezTo>
                    <a:pt x="561" y="94"/>
                    <a:pt x="570" y="105"/>
                    <a:pt x="577" y="113"/>
                  </a:cubicBezTo>
                  <a:cubicBezTo>
                    <a:pt x="586" y="123"/>
                    <a:pt x="583" y="131"/>
                    <a:pt x="576" y="140"/>
                  </a:cubicBezTo>
                  <a:cubicBezTo>
                    <a:pt x="563" y="157"/>
                    <a:pt x="557" y="165"/>
                    <a:pt x="565" y="182"/>
                  </a:cubicBezTo>
                  <a:cubicBezTo>
                    <a:pt x="578" y="214"/>
                    <a:pt x="662" y="390"/>
                    <a:pt x="673" y="415"/>
                  </a:cubicBezTo>
                  <a:cubicBezTo>
                    <a:pt x="666" y="440"/>
                    <a:pt x="628" y="512"/>
                    <a:pt x="617" y="515"/>
                  </a:cubicBezTo>
                  <a:cubicBezTo>
                    <a:pt x="605" y="517"/>
                    <a:pt x="542" y="466"/>
                    <a:pt x="525" y="446"/>
                  </a:cubicBezTo>
                  <a:cubicBezTo>
                    <a:pt x="525" y="419"/>
                    <a:pt x="532" y="224"/>
                    <a:pt x="531" y="190"/>
                  </a:cubicBezTo>
                  <a:cubicBezTo>
                    <a:pt x="530" y="170"/>
                    <a:pt x="522" y="165"/>
                    <a:pt x="503" y="155"/>
                  </a:cubicBezTo>
                  <a:cubicBezTo>
                    <a:pt x="494" y="150"/>
                    <a:pt x="487" y="143"/>
                    <a:pt x="491" y="131"/>
                  </a:cubicBezTo>
                  <a:close/>
                  <a:moveTo>
                    <a:pt x="374" y="302"/>
                  </a:moveTo>
                  <a:cubicBezTo>
                    <a:pt x="381" y="337"/>
                    <a:pt x="411" y="476"/>
                    <a:pt x="442" y="621"/>
                  </a:cubicBezTo>
                  <a:cubicBezTo>
                    <a:pt x="395" y="633"/>
                    <a:pt x="336" y="648"/>
                    <a:pt x="303" y="656"/>
                  </a:cubicBezTo>
                  <a:cubicBezTo>
                    <a:pt x="262" y="667"/>
                    <a:pt x="250" y="722"/>
                    <a:pt x="266" y="764"/>
                  </a:cubicBezTo>
                  <a:cubicBezTo>
                    <a:pt x="315" y="895"/>
                    <a:pt x="335" y="944"/>
                    <a:pt x="357" y="1000"/>
                  </a:cubicBezTo>
                  <a:cubicBezTo>
                    <a:pt x="357" y="1010"/>
                    <a:pt x="333" y="1014"/>
                    <a:pt x="305" y="1023"/>
                  </a:cubicBezTo>
                  <a:cubicBezTo>
                    <a:pt x="277" y="1032"/>
                    <a:pt x="295" y="1080"/>
                    <a:pt x="315" y="1080"/>
                  </a:cubicBezTo>
                  <a:lnTo>
                    <a:pt x="458" y="1080"/>
                  </a:lnTo>
                  <a:cubicBezTo>
                    <a:pt x="476" y="1080"/>
                    <a:pt x="499" y="1064"/>
                    <a:pt x="495" y="1020"/>
                  </a:cubicBezTo>
                  <a:cubicBezTo>
                    <a:pt x="492" y="974"/>
                    <a:pt x="472" y="900"/>
                    <a:pt x="442" y="800"/>
                  </a:cubicBezTo>
                  <a:cubicBezTo>
                    <a:pt x="474" y="797"/>
                    <a:pt x="595" y="795"/>
                    <a:pt x="674" y="787"/>
                  </a:cubicBezTo>
                  <a:cubicBezTo>
                    <a:pt x="722" y="979"/>
                    <a:pt x="776" y="1201"/>
                    <a:pt x="788" y="1283"/>
                  </a:cubicBezTo>
                  <a:cubicBezTo>
                    <a:pt x="789" y="1293"/>
                    <a:pt x="764" y="1301"/>
                    <a:pt x="739" y="1311"/>
                  </a:cubicBezTo>
                  <a:cubicBezTo>
                    <a:pt x="699" y="1327"/>
                    <a:pt x="733" y="1370"/>
                    <a:pt x="751" y="1370"/>
                  </a:cubicBezTo>
                  <a:lnTo>
                    <a:pt x="894" y="1370"/>
                  </a:lnTo>
                  <a:cubicBezTo>
                    <a:pt x="913" y="1370"/>
                    <a:pt x="930" y="1362"/>
                    <a:pt x="930" y="1314"/>
                  </a:cubicBezTo>
                  <a:cubicBezTo>
                    <a:pt x="930" y="1212"/>
                    <a:pt x="775" y="323"/>
                    <a:pt x="753" y="222"/>
                  </a:cubicBezTo>
                  <a:cubicBezTo>
                    <a:pt x="808" y="244"/>
                    <a:pt x="849" y="259"/>
                    <a:pt x="903" y="286"/>
                  </a:cubicBezTo>
                  <a:cubicBezTo>
                    <a:pt x="935" y="338"/>
                    <a:pt x="965" y="390"/>
                    <a:pt x="992" y="436"/>
                  </a:cubicBezTo>
                  <a:cubicBezTo>
                    <a:pt x="1007" y="461"/>
                    <a:pt x="1024" y="469"/>
                    <a:pt x="1046" y="458"/>
                  </a:cubicBezTo>
                  <a:cubicBezTo>
                    <a:pt x="1064" y="450"/>
                    <a:pt x="1076" y="443"/>
                    <a:pt x="1093" y="433"/>
                  </a:cubicBezTo>
                  <a:cubicBezTo>
                    <a:pt x="1105" y="427"/>
                    <a:pt x="1111" y="406"/>
                    <a:pt x="1094" y="371"/>
                  </a:cubicBezTo>
                  <a:cubicBezTo>
                    <a:pt x="1070" y="323"/>
                    <a:pt x="1048" y="279"/>
                    <a:pt x="1027" y="236"/>
                  </a:cubicBezTo>
                  <a:cubicBezTo>
                    <a:pt x="1001" y="182"/>
                    <a:pt x="968" y="160"/>
                    <a:pt x="941" y="142"/>
                  </a:cubicBezTo>
                  <a:cubicBezTo>
                    <a:pt x="893" y="111"/>
                    <a:pt x="845" y="80"/>
                    <a:pt x="793" y="48"/>
                  </a:cubicBezTo>
                  <a:cubicBezTo>
                    <a:pt x="733" y="11"/>
                    <a:pt x="714" y="0"/>
                    <a:pt x="669" y="9"/>
                  </a:cubicBezTo>
                  <a:cubicBezTo>
                    <a:pt x="643" y="13"/>
                    <a:pt x="583" y="27"/>
                    <a:pt x="517" y="40"/>
                  </a:cubicBezTo>
                  <a:cubicBezTo>
                    <a:pt x="452" y="54"/>
                    <a:pt x="391" y="67"/>
                    <a:pt x="365" y="72"/>
                  </a:cubicBezTo>
                  <a:cubicBezTo>
                    <a:pt x="315" y="83"/>
                    <a:pt x="294" y="114"/>
                    <a:pt x="259" y="175"/>
                  </a:cubicBezTo>
                  <a:cubicBezTo>
                    <a:pt x="240" y="208"/>
                    <a:pt x="222" y="241"/>
                    <a:pt x="204" y="272"/>
                  </a:cubicBezTo>
                  <a:cubicBezTo>
                    <a:pt x="179" y="247"/>
                    <a:pt x="193" y="262"/>
                    <a:pt x="117" y="177"/>
                  </a:cubicBezTo>
                  <a:cubicBezTo>
                    <a:pt x="91" y="147"/>
                    <a:pt x="69" y="145"/>
                    <a:pt x="59" y="154"/>
                  </a:cubicBezTo>
                  <a:cubicBezTo>
                    <a:pt x="44" y="167"/>
                    <a:pt x="33" y="175"/>
                    <a:pt x="18" y="189"/>
                  </a:cubicBezTo>
                  <a:cubicBezTo>
                    <a:pt x="0" y="205"/>
                    <a:pt x="1" y="224"/>
                    <a:pt x="19" y="247"/>
                  </a:cubicBezTo>
                  <a:cubicBezTo>
                    <a:pt x="42" y="276"/>
                    <a:pt x="131" y="389"/>
                    <a:pt x="158" y="420"/>
                  </a:cubicBezTo>
                  <a:cubicBezTo>
                    <a:pt x="189" y="455"/>
                    <a:pt x="245" y="460"/>
                    <a:pt x="286" y="414"/>
                  </a:cubicBezTo>
                  <a:cubicBezTo>
                    <a:pt x="305" y="392"/>
                    <a:pt x="350" y="334"/>
                    <a:pt x="374" y="302"/>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6" name="Freeform 345">
              <a:extLst>
                <a:ext uri="{FF2B5EF4-FFF2-40B4-BE49-F238E27FC236}">
                  <a16:creationId xmlns:a16="http://schemas.microsoft.com/office/drawing/2014/main" id="{2758794E-03FC-49C6-A314-FB01B823F6C4}"/>
                </a:ext>
              </a:extLst>
            </p:cNvPr>
            <p:cNvSpPr>
              <a:spLocks/>
            </p:cNvSpPr>
            <p:nvPr/>
          </p:nvSpPr>
          <p:spPr bwMode="auto">
            <a:xfrm>
              <a:off x="6253163" y="-142875"/>
              <a:ext cx="239713" cy="282575"/>
            </a:xfrm>
            <a:custGeom>
              <a:avLst/>
              <a:gdLst>
                <a:gd name="T0" fmla="*/ 193 w 314"/>
                <a:gd name="T1" fmla="*/ 355 h 371"/>
                <a:gd name="T2" fmla="*/ 20 w 314"/>
                <a:gd name="T3" fmla="*/ 214 h 371"/>
                <a:gd name="T4" fmla="*/ 121 w 314"/>
                <a:gd name="T5" fmla="*/ 16 h 371"/>
                <a:gd name="T6" fmla="*/ 294 w 314"/>
                <a:gd name="T7" fmla="*/ 156 h 371"/>
                <a:gd name="T8" fmla="*/ 193 w 314"/>
                <a:gd name="T9" fmla="*/ 355 h 371"/>
              </a:gdLst>
              <a:ahLst/>
              <a:cxnLst>
                <a:cxn ang="0">
                  <a:pos x="T0" y="T1"/>
                </a:cxn>
                <a:cxn ang="0">
                  <a:pos x="T2" y="T3"/>
                </a:cxn>
                <a:cxn ang="0">
                  <a:pos x="T4" y="T5"/>
                </a:cxn>
                <a:cxn ang="0">
                  <a:pos x="T6" y="T7"/>
                </a:cxn>
                <a:cxn ang="0">
                  <a:pos x="T8" y="T9"/>
                </a:cxn>
              </a:cxnLst>
              <a:rect l="0" t="0" r="r" b="b"/>
              <a:pathLst>
                <a:path w="314" h="371">
                  <a:moveTo>
                    <a:pt x="193" y="355"/>
                  </a:moveTo>
                  <a:cubicBezTo>
                    <a:pt x="117" y="371"/>
                    <a:pt x="39" y="308"/>
                    <a:pt x="20" y="214"/>
                  </a:cubicBezTo>
                  <a:cubicBezTo>
                    <a:pt x="0" y="121"/>
                    <a:pt x="46" y="32"/>
                    <a:pt x="121" y="16"/>
                  </a:cubicBezTo>
                  <a:cubicBezTo>
                    <a:pt x="197" y="0"/>
                    <a:pt x="275" y="63"/>
                    <a:pt x="294" y="156"/>
                  </a:cubicBezTo>
                  <a:cubicBezTo>
                    <a:pt x="314" y="250"/>
                    <a:pt x="269" y="339"/>
                    <a:pt x="193" y="355"/>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7" name="Freeform 346">
              <a:extLst>
                <a:ext uri="{FF2B5EF4-FFF2-40B4-BE49-F238E27FC236}">
                  <a16:creationId xmlns:a16="http://schemas.microsoft.com/office/drawing/2014/main" id="{F769B017-E350-447E-B7ED-9CEFD9967CCE}"/>
                </a:ext>
              </a:extLst>
            </p:cNvPr>
            <p:cNvSpPr>
              <a:spLocks/>
            </p:cNvSpPr>
            <p:nvPr/>
          </p:nvSpPr>
          <p:spPr bwMode="auto">
            <a:xfrm>
              <a:off x="5856288" y="765175"/>
              <a:ext cx="1203325" cy="696913"/>
            </a:xfrm>
            <a:custGeom>
              <a:avLst/>
              <a:gdLst>
                <a:gd name="T0" fmla="*/ 1131 w 1580"/>
                <a:gd name="T1" fmla="*/ 883 h 914"/>
                <a:gd name="T2" fmla="*/ 1131 w 1580"/>
                <a:gd name="T3" fmla="*/ 629 h 914"/>
                <a:gd name="T4" fmla="*/ 774 w 1580"/>
                <a:gd name="T5" fmla="*/ 629 h 914"/>
                <a:gd name="T6" fmla="*/ 743 w 1580"/>
                <a:gd name="T7" fmla="*/ 599 h 914"/>
                <a:gd name="T8" fmla="*/ 743 w 1580"/>
                <a:gd name="T9" fmla="*/ 345 h 914"/>
                <a:gd name="T10" fmla="*/ 386 w 1580"/>
                <a:gd name="T11" fmla="*/ 345 h 914"/>
                <a:gd name="T12" fmla="*/ 386 w 1580"/>
                <a:gd name="T13" fmla="*/ 345 h 914"/>
                <a:gd name="T14" fmla="*/ 355 w 1580"/>
                <a:gd name="T15" fmla="*/ 315 h 914"/>
                <a:gd name="T16" fmla="*/ 355 w 1580"/>
                <a:gd name="T17" fmla="*/ 61 h 914"/>
                <a:gd name="T18" fmla="*/ 31 w 1580"/>
                <a:gd name="T19" fmla="*/ 61 h 914"/>
                <a:gd name="T20" fmla="*/ 0 w 1580"/>
                <a:gd name="T21" fmla="*/ 30 h 914"/>
                <a:gd name="T22" fmla="*/ 31 w 1580"/>
                <a:gd name="T23" fmla="*/ 0 h 914"/>
                <a:gd name="T24" fmla="*/ 386 w 1580"/>
                <a:gd name="T25" fmla="*/ 0 h 914"/>
                <a:gd name="T26" fmla="*/ 416 w 1580"/>
                <a:gd name="T27" fmla="*/ 30 h 914"/>
                <a:gd name="T28" fmla="*/ 416 w 1580"/>
                <a:gd name="T29" fmla="*/ 284 h 914"/>
                <a:gd name="T30" fmla="*/ 774 w 1580"/>
                <a:gd name="T31" fmla="*/ 284 h 914"/>
                <a:gd name="T32" fmla="*/ 804 w 1580"/>
                <a:gd name="T33" fmla="*/ 315 h 914"/>
                <a:gd name="T34" fmla="*/ 804 w 1580"/>
                <a:gd name="T35" fmla="*/ 568 h 914"/>
                <a:gd name="T36" fmla="*/ 1162 w 1580"/>
                <a:gd name="T37" fmla="*/ 568 h 914"/>
                <a:gd name="T38" fmla="*/ 1192 w 1580"/>
                <a:gd name="T39" fmla="*/ 599 h 914"/>
                <a:gd name="T40" fmla="*/ 1192 w 1580"/>
                <a:gd name="T41" fmla="*/ 853 h 914"/>
                <a:gd name="T42" fmla="*/ 1550 w 1580"/>
                <a:gd name="T43" fmla="*/ 853 h 914"/>
                <a:gd name="T44" fmla="*/ 1580 w 1580"/>
                <a:gd name="T45" fmla="*/ 883 h 914"/>
                <a:gd name="T46" fmla="*/ 1544 w 1580"/>
                <a:gd name="T47" fmla="*/ 914 h 914"/>
                <a:gd name="T48" fmla="*/ 1162 w 1580"/>
                <a:gd name="T49" fmla="*/ 914 h 914"/>
                <a:gd name="T50" fmla="*/ 1131 w 1580"/>
                <a:gd name="T51" fmla="*/ 8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0" h="914">
                  <a:moveTo>
                    <a:pt x="1131" y="883"/>
                  </a:moveTo>
                  <a:lnTo>
                    <a:pt x="1131" y="629"/>
                  </a:lnTo>
                  <a:lnTo>
                    <a:pt x="774" y="629"/>
                  </a:lnTo>
                  <a:cubicBezTo>
                    <a:pt x="757" y="629"/>
                    <a:pt x="743" y="616"/>
                    <a:pt x="743" y="599"/>
                  </a:cubicBezTo>
                  <a:lnTo>
                    <a:pt x="743" y="345"/>
                  </a:lnTo>
                  <a:lnTo>
                    <a:pt x="386" y="345"/>
                  </a:lnTo>
                  <a:lnTo>
                    <a:pt x="386" y="345"/>
                  </a:lnTo>
                  <a:cubicBezTo>
                    <a:pt x="369" y="345"/>
                    <a:pt x="355" y="331"/>
                    <a:pt x="355" y="315"/>
                  </a:cubicBezTo>
                  <a:lnTo>
                    <a:pt x="355" y="61"/>
                  </a:lnTo>
                  <a:lnTo>
                    <a:pt x="31" y="61"/>
                  </a:lnTo>
                  <a:cubicBezTo>
                    <a:pt x="14" y="61"/>
                    <a:pt x="0" y="47"/>
                    <a:pt x="0" y="30"/>
                  </a:cubicBezTo>
                  <a:cubicBezTo>
                    <a:pt x="0" y="13"/>
                    <a:pt x="14" y="0"/>
                    <a:pt x="31" y="0"/>
                  </a:cubicBezTo>
                  <a:lnTo>
                    <a:pt x="386" y="0"/>
                  </a:lnTo>
                  <a:cubicBezTo>
                    <a:pt x="402" y="0"/>
                    <a:pt x="416" y="13"/>
                    <a:pt x="416" y="30"/>
                  </a:cubicBezTo>
                  <a:lnTo>
                    <a:pt x="416" y="284"/>
                  </a:lnTo>
                  <a:lnTo>
                    <a:pt x="774" y="284"/>
                  </a:lnTo>
                  <a:cubicBezTo>
                    <a:pt x="790" y="284"/>
                    <a:pt x="804" y="298"/>
                    <a:pt x="804" y="315"/>
                  </a:cubicBezTo>
                  <a:lnTo>
                    <a:pt x="804" y="568"/>
                  </a:lnTo>
                  <a:lnTo>
                    <a:pt x="1162" y="568"/>
                  </a:lnTo>
                  <a:cubicBezTo>
                    <a:pt x="1179" y="568"/>
                    <a:pt x="1192" y="582"/>
                    <a:pt x="1192" y="599"/>
                  </a:cubicBezTo>
                  <a:lnTo>
                    <a:pt x="1192" y="853"/>
                  </a:lnTo>
                  <a:lnTo>
                    <a:pt x="1550" y="853"/>
                  </a:lnTo>
                  <a:cubicBezTo>
                    <a:pt x="1567" y="853"/>
                    <a:pt x="1580" y="866"/>
                    <a:pt x="1580" y="883"/>
                  </a:cubicBezTo>
                  <a:cubicBezTo>
                    <a:pt x="1580" y="899"/>
                    <a:pt x="1568" y="914"/>
                    <a:pt x="1544" y="914"/>
                  </a:cubicBezTo>
                  <a:lnTo>
                    <a:pt x="1162" y="914"/>
                  </a:lnTo>
                  <a:cubicBezTo>
                    <a:pt x="1145" y="914"/>
                    <a:pt x="1131" y="900"/>
                    <a:pt x="1131" y="883"/>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60" name="Rectángulo 59"/>
          <p:cNvSpPr/>
          <p:nvPr/>
        </p:nvSpPr>
        <p:spPr>
          <a:xfrm>
            <a:off x="1314036" y="2674632"/>
            <a:ext cx="1893983" cy="369332"/>
          </a:xfrm>
          <a:prstGeom prst="rect">
            <a:avLst/>
          </a:prstGeom>
        </p:spPr>
        <p:txBody>
          <a:bodyPr wrap="squar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概要と期待効果</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grpSp>
        <p:nvGrpSpPr>
          <p:cNvPr id="66" name="Group 14">
            <a:extLst>
              <a:ext uri="{FF2B5EF4-FFF2-40B4-BE49-F238E27FC236}">
                <a16:creationId xmlns:a16="http://schemas.microsoft.com/office/drawing/2014/main" id="{1C37A94A-2FB5-48D0-A786-B43F2FD416E0}"/>
              </a:ext>
            </a:extLst>
          </p:cNvPr>
          <p:cNvGrpSpPr/>
          <p:nvPr/>
        </p:nvGrpSpPr>
        <p:grpSpPr>
          <a:xfrm>
            <a:off x="6069685" y="1464235"/>
            <a:ext cx="552985" cy="552985"/>
            <a:chOff x="761861" y="3510594"/>
            <a:chExt cx="552985" cy="552985"/>
          </a:xfrm>
        </p:grpSpPr>
        <p:sp>
          <p:nvSpPr>
            <p:cNvPr id="67"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68"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69" name="Identification">
              <a:extLst>
                <a:ext uri="{FF2B5EF4-FFF2-40B4-BE49-F238E27FC236}">
                  <a16:creationId xmlns:a16="http://schemas.microsoft.com/office/drawing/2014/main" id="{985152F4-D0AD-4849-84AF-E45ED4C87A0A}"/>
                </a:ext>
              </a:extLst>
            </p:cNvPr>
            <p:cNvSpPr>
              <a:spLocks/>
            </p:cNvSpPr>
            <p:nvPr>
              <p:custDataLst>
                <p:tags r:id="rId2"/>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76" name="Rectángulo 75"/>
          <p:cNvSpPr/>
          <p:nvPr/>
        </p:nvSpPr>
        <p:spPr>
          <a:xfrm>
            <a:off x="6636559" y="1464235"/>
            <a:ext cx="3599062" cy="369332"/>
          </a:xfrm>
          <a:prstGeom prst="rect">
            <a:avLst/>
          </a:prstGeom>
        </p:spPr>
        <p:txBody>
          <a:bodyPr wrap="non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自動化された業務の紹介</a:t>
            </a:r>
            <a:r>
              <a:rPr lang="ja-JP" altLang="es-ES" b="1" dirty="0">
                <a:solidFill>
                  <a:prstClr val="black"/>
                </a:solidFill>
                <a:latin typeface="ＭＳ Ｐゴシック" panose="020B0600070205080204" pitchFamily="50" charset="-128"/>
                <a:ea typeface="ＭＳ Ｐゴシック" panose="020B0600070205080204" pitchFamily="50" charset="-128"/>
              </a:rPr>
              <a:t>（抜粋例）</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grpSp>
        <p:nvGrpSpPr>
          <p:cNvPr id="83" name="Reload" descr="{&quot;Key&quot;:&quot;POWER_USER_SHAPE_ICON&quot;,&quot;Value&quot;:&quot;POWER_USER_SHAPE_ICON_STYLE_1&quot;}">
            <a:extLst>
              <a:ext uri="{FF2B5EF4-FFF2-40B4-BE49-F238E27FC236}">
                <a16:creationId xmlns:a16="http://schemas.microsoft.com/office/drawing/2014/main" id="{B7E41015-6448-458A-847D-85999440ADC4}"/>
              </a:ext>
            </a:extLst>
          </p:cNvPr>
          <p:cNvGrpSpPr>
            <a:grpSpLocks noChangeAspect="1"/>
          </p:cNvGrpSpPr>
          <p:nvPr/>
        </p:nvGrpSpPr>
        <p:grpSpPr>
          <a:xfrm>
            <a:off x="6203386" y="1541226"/>
            <a:ext cx="310779" cy="359246"/>
            <a:chOff x="10224666" y="2948305"/>
            <a:chExt cx="122586" cy="141705"/>
          </a:xfrm>
          <a:solidFill>
            <a:schemeClr val="bg1"/>
          </a:solidFill>
        </p:grpSpPr>
        <p:sp>
          <p:nvSpPr>
            <p:cNvPr id="84" name="Freeform 142">
              <a:extLst>
                <a:ext uri="{FF2B5EF4-FFF2-40B4-BE49-F238E27FC236}">
                  <a16:creationId xmlns:a16="http://schemas.microsoft.com/office/drawing/2014/main" id="{2F8EB3B7-807C-400B-87FC-1194C7B03222}"/>
                </a:ext>
              </a:extLst>
            </p:cNvPr>
            <p:cNvSpPr>
              <a:spLocks noChangeAspect="1"/>
            </p:cNvSpPr>
            <p:nvPr/>
          </p:nvSpPr>
          <p:spPr bwMode="auto">
            <a:xfrm>
              <a:off x="10224666" y="2965928"/>
              <a:ext cx="122586" cy="124082"/>
            </a:xfrm>
            <a:custGeom>
              <a:avLst/>
              <a:gdLst>
                <a:gd name="T0" fmla="*/ 107 w 213"/>
                <a:gd name="T1" fmla="*/ 214 h 214"/>
                <a:gd name="T2" fmla="*/ 0 w 213"/>
                <a:gd name="T3" fmla="*/ 107 h 214"/>
                <a:gd name="T4" fmla="*/ 107 w 213"/>
                <a:gd name="T5" fmla="*/ 0 h 214"/>
                <a:gd name="T6" fmla="*/ 156 w 213"/>
                <a:gd name="T7" fmla="*/ 12 h 214"/>
                <a:gd name="T8" fmla="*/ 148 w 213"/>
                <a:gd name="T9" fmla="*/ 27 h 214"/>
                <a:gd name="T10" fmla="*/ 107 w 213"/>
                <a:gd name="T11" fmla="*/ 17 h 214"/>
                <a:gd name="T12" fmla="*/ 17 w 213"/>
                <a:gd name="T13" fmla="*/ 107 h 214"/>
                <a:gd name="T14" fmla="*/ 107 w 213"/>
                <a:gd name="T15" fmla="*/ 197 h 214"/>
                <a:gd name="T16" fmla="*/ 197 w 213"/>
                <a:gd name="T17" fmla="*/ 107 h 214"/>
                <a:gd name="T18" fmla="*/ 170 w 213"/>
                <a:gd name="T19" fmla="*/ 43 h 214"/>
                <a:gd name="T20" fmla="*/ 182 w 213"/>
                <a:gd name="T21" fmla="*/ 32 h 214"/>
                <a:gd name="T22" fmla="*/ 213 w 213"/>
                <a:gd name="T23" fmla="*/ 107 h 214"/>
                <a:gd name="T24" fmla="*/ 107 w 213"/>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14">
                  <a:moveTo>
                    <a:pt x="107" y="214"/>
                  </a:moveTo>
                  <a:cubicBezTo>
                    <a:pt x="48" y="214"/>
                    <a:pt x="0" y="166"/>
                    <a:pt x="0" y="107"/>
                  </a:cubicBezTo>
                  <a:cubicBezTo>
                    <a:pt x="0" y="48"/>
                    <a:pt x="48" y="0"/>
                    <a:pt x="107" y="0"/>
                  </a:cubicBezTo>
                  <a:cubicBezTo>
                    <a:pt x="124" y="0"/>
                    <a:pt x="141" y="5"/>
                    <a:pt x="156" y="12"/>
                  </a:cubicBezTo>
                  <a:lnTo>
                    <a:pt x="148" y="27"/>
                  </a:lnTo>
                  <a:cubicBezTo>
                    <a:pt x="135" y="20"/>
                    <a:pt x="121" y="17"/>
                    <a:pt x="107" y="17"/>
                  </a:cubicBezTo>
                  <a:cubicBezTo>
                    <a:pt x="57" y="17"/>
                    <a:pt x="17" y="57"/>
                    <a:pt x="17" y="107"/>
                  </a:cubicBezTo>
                  <a:cubicBezTo>
                    <a:pt x="17" y="157"/>
                    <a:pt x="57" y="197"/>
                    <a:pt x="107" y="197"/>
                  </a:cubicBezTo>
                  <a:cubicBezTo>
                    <a:pt x="156" y="197"/>
                    <a:pt x="197" y="157"/>
                    <a:pt x="197" y="107"/>
                  </a:cubicBezTo>
                  <a:cubicBezTo>
                    <a:pt x="197" y="83"/>
                    <a:pt x="187" y="60"/>
                    <a:pt x="170" y="43"/>
                  </a:cubicBezTo>
                  <a:lnTo>
                    <a:pt x="182" y="32"/>
                  </a:lnTo>
                  <a:cubicBezTo>
                    <a:pt x="202" y="52"/>
                    <a:pt x="213" y="79"/>
                    <a:pt x="213" y="107"/>
                  </a:cubicBezTo>
                  <a:cubicBezTo>
                    <a:pt x="213" y="166"/>
                    <a:pt x="166" y="214"/>
                    <a:pt x="107"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alibri" panose="020F0502020204030204"/>
              </a:endParaRPr>
            </a:p>
          </p:txBody>
        </p:sp>
        <p:sp>
          <p:nvSpPr>
            <p:cNvPr id="85" name="Freeform 491">
              <a:extLst>
                <a:ext uri="{FF2B5EF4-FFF2-40B4-BE49-F238E27FC236}">
                  <a16:creationId xmlns:a16="http://schemas.microsoft.com/office/drawing/2014/main" id="{10896075-EFC8-430E-9CD7-D086FCDEE80A}"/>
                </a:ext>
              </a:extLst>
            </p:cNvPr>
            <p:cNvSpPr>
              <a:spLocks noChangeAspect="1"/>
            </p:cNvSpPr>
            <p:nvPr/>
          </p:nvSpPr>
          <p:spPr bwMode="auto">
            <a:xfrm rot="511342">
              <a:off x="10277295" y="2948305"/>
              <a:ext cx="41735" cy="49260"/>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alibri" panose="020F0502020204030204"/>
              </a:endParaRPr>
            </a:p>
          </p:txBody>
        </p:sp>
      </p:grpSp>
      <p:sp>
        <p:nvSpPr>
          <p:cNvPr id="77" name="Rectángulo 61"/>
          <p:cNvSpPr/>
          <p:nvPr/>
        </p:nvSpPr>
        <p:spPr>
          <a:xfrm>
            <a:off x="1293435" y="4830557"/>
            <a:ext cx="1144388" cy="369332"/>
          </a:xfrm>
          <a:prstGeom prst="rect">
            <a:avLst/>
          </a:prstGeom>
        </p:spPr>
        <p:txBody>
          <a:bodyPr wrap="squar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削減効果</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sp>
        <p:nvSpPr>
          <p:cNvPr id="62" name="Rectángulo 85"/>
          <p:cNvSpPr/>
          <p:nvPr/>
        </p:nvSpPr>
        <p:spPr>
          <a:xfrm>
            <a:off x="825298" y="5492818"/>
            <a:ext cx="5684343" cy="646331"/>
          </a:xfrm>
          <a:prstGeom prst="rect">
            <a:avLst/>
          </a:prstGeom>
        </p:spPr>
        <p:txBody>
          <a:bodyPr wrap="square">
            <a:spAutoFit/>
          </a:bodyPr>
          <a:lstStyle/>
          <a:p>
            <a:r>
              <a:rPr lang="ja-JP" altLang="es-ES" dirty="0">
                <a:solidFill>
                  <a:prstClr val="black"/>
                </a:solidFill>
                <a:latin typeface="ＭＳ Ｐゴシック" panose="020B0600070205080204" pitchFamily="50" charset="-128"/>
                <a:ea typeface="ＭＳ Ｐゴシック" panose="020B0600070205080204" pitchFamily="50" charset="-128"/>
              </a:rPr>
              <a:t>年間　 </a:t>
            </a:r>
            <a:r>
              <a:rPr lang="es-ES" altLang="ja-JP" dirty="0">
                <a:solidFill>
                  <a:prstClr val="black"/>
                </a:solidFill>
                <a:latin typeface="ＭＳ Ｐゴシック" panose="020B0600070205080204" pitchFamily="50" charset="-128"/>
                <a:ea typeface="ＭＳ Ｐゴシック" panose="020B0600070205080204" pitchFamily="50" charset="-128"/>
              </a:rPr>
              <a:t>85%</a:t>
            </a:r>
            <a:r>
              <a:rPr lang="ja-JP" altLang="es-ES" dirty="0">
                <a:solidFill>
                  <a:prstClr val="black"/>
                </a:solidFill>
                <a:latin typeface="ＭＳ Ｐゴシック" panose="020B0600070205080204" pitchFamily="50" charset="-128"/>
                <a:ea typeface="ＭＳ Ｐゴシック" panose="020B0600070205080204" pitchFamily="50" charset="-128"/>
              </a:rPr>
              <a:t>の作業時間を削減</a:t>
            </a:r>
            <a:r>
              <a:rPr lang="ja-JP" altLang="en-US" dirty="0">
                <a:solidFill>
                  <a:prstClr val="black"/>
                </a:solidFill>
                <a:latin typeface="ＭＳ Ｐゴシック" panose="020B0600070205080204" pitchFamily="50" charset="-128"/>
                <a:ea typeface="ＭＳ Ｐゴシック" panose="020B0600070205080204" pitchFamily="50" charset="-128"/>
              </a:rPr>
              <a:t>      </a:t>
            </a:r>
            <a:endParaRPr lang="es-ES" altLang="ja-JP" dirty="0">
              <a:solidFill>
                <a:prstClr val="black"/>
              </a:solidFill>
              <a:latin typeface="ＭＳ Ｐゴシック" panose="020B0600070205080204" pitchFamily="50" charset="-128"/>
              <a:ea typeface="ＭＳ Ｐゴシック" panose="020B0600070205080204" pitchFamily="50" charset="-128"/>
            </a:endParaRPr>
          </a:p>
          <a:p>
            <a:r>
              <a:rPr lang="ja-JP" altLang="en-US" dirty="0">
                <a:solidFill>
                  <a:prstClr val="black"/>
                </a:solidFill>
                <a:latin typeface="ＭＳ Ｐゴシック" panose="020B0600070205080204" pitchFamily="50" charset="-128"/>
                <a:ea typeface="ＭＳ Ｐゴシック" panose="020B0600070205080204" pitchFamily="50" charset="-128"/>
              </a:rPr>
              <a:t>年間   </a:t>
            </a:r>
            <a:r>
              <a:rPr lang="es-ES" altLang="ja-JP" dirty="0">
                <a:solidFill>
                  <a:prstClr val="black"/>
                </a:solidFill>
                <a:latin typeface="ＭＳ Ｐゴシック" panose="020B0600070205080204" pitchFamily="50" charset="-128"/>
                <a:ea typeface="ＭＳ Ｐゴシック" panose="020B0600070205080204" pitchFamily="50" charset="-128"/>
              </a:rPr>
              <a:t>BRL 1M</a:t>
            </a:r>
            <a:r>
              <a:rPr lang="ja-JP" altLang="es-ES" dirty="0">
                <a:solidFill>
                  <a:prstClr val="black"/>
                </a:solidFill>
                <a:latin typeface="ＭＳ Ｐゴシック" panose="020B0600070205080204" pitchFamily="50" charset="-128"/>
                <a:ea typeface="ＭＳ Ｐゴシック" panose="020B0600070205080204" pitchFamily="50" charset="-128"/>
              </a:rPr>
              <a:t>相当のオペレーションリスクを削減</a:t>
            </a:r>
            <a:endParaRPr lang="en-US" dirty="0">
              <a:solidFill>
                <a:prstClr val="black"/>
              </a:solidFill>
              <a:latin typeface="ＭＳ Ｐゴシック" panose="020B0600070205080204" pitchFamily="50" charset="-128"/>
              <a:ea typeface="ＭＳ Ｐゴシック" panose="020B0600070205080204" pitchFamily="50" charset="-128"/>
            </a:endParaRPr>
          </a:p>
        </p:txBody>
      </p:sp>
      <p:pic>
        <p:nvPicPr>
          <p:cNvPr id="16" name="Imagen 15"/>
          <p:cNvPicPr>
            <a:picLocks noChangeAspect="1"/>
          </p:cNvPicPr>
          <p:nvPr/>
        </p:nvPicPr>
        <p:blipFill rotWithShape="1">
          <a:blip r:embed="rId10"/>
          <a:srcRect t="15795" b="16664"/>
          <a:stretch/>
        </p:blipFill>
        <p:spPr>
          <a:xfrm>
            <a:off x="9125331" y="611580"/>
            <a:ext cx="2588133" cy="566928"/>
          </a:xfrm>
          <a:prstGeom prst="rect">
            <a:avLst/>
          </a:prstGeom>
        </p:spPr>
      </p:pic>
      <p:pic>
        <p:nvPicPr>
          <p:cNvPr id="18" name="Imagen 17"/>
          <p:cNvPicPr>
            <a:picLocks noChangeAspect="1"/>
          </p:cNvPicPr>
          <p:nvPr/>
        </p:nvPicPr>
        <p:blipFill>
          <a:blip r:embed="rId11"/>
          <a:stretch>
            <a:fillRect/>
          </a:stretch>
        </p:blipFill>
        <p:spPr>
          <a:xfrm>
            <a:off x="8691780" y="4426777"/>
            <a:ext cx="2786039" cy="1788202"/>
          </a:xfrm>
          <a:prstGeom prst="rect">
            <a:avLst/>
          </a:prstGeom>
        </p:spPr>
      </p:pic>
      <p:sp>
        <p:nvSpPr>
          <p:cNvPr id="19" name="CuadroTexto 18"/>
          <p:cNvSpPr txBox="1"/>
          <p:nvPr/>
        </p:nvSpPr>
        <p:spPr>
          <a:xfrm rot="1521821">
            <a:off x="10823146" y="4286641"/>
            <a:ext cx="794833" cy="361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20000"/>
              </a:lnSpc>
              <a:spcBef>
                <a:spcPts val="0"/>
              </a:spcBef>
              <a:spcAft>
                <a:spcPts val="0"/>
              </a:spcAft>
              <a:buClrTx/>
              <a:buSzTx/>
              <a:buFontTx/>
              <a:buNone/>
              <a:tabLst/>
            </a:pPr>
            <a:r>
              <a:rPr kumimoji="0" lang="es-ES" sz="1400" b="0" i="0" u="none" strike="noStrike" cap="none" spc="-96" normalizeH="0" baseline="0" dirty="0" err="1">
                <a:ln>
                  <a:noFill/>
                </a:ln>
                <a:solidFill>
                  <a:srgbClr val="212121">
                    <a:alpha val="90000"/>
                  </a:srgbClr>
                </a:solidFill>
                <a:effectLst/>
                <a:uFillTx/>
                <a:latin typeface="+mn-lt"/>
                <a:ea typeface="+mn-ea"/>
                <a:cs typeface="+mn-cs"/>
                <a:sym typeface="Circular Pro Book"/>
              </a:rPr>
              <a:t>Illustrative</a:t>
            </a:r>
            <a:endParaRPr kumimoji="0" lang="es-ES" sz="1400" b="0" i="0" u="none" strike="noStrike" cap="none" spc="-96" normalizeH="0" baseline="0" dirty="0">
              <a:ln>
                <a:noFill/>
              </a:ln>
              <a:solidFill>
                <a:srgbClr val="212121">
                  <a:alpha val="90000"/>
                </a:srgbClr>
              </a:solidFill>
              <a:effectLst/>
              <a:uFillTx/>
              <a:latin typeface="+mn-lt"/>
              <a:ea typeface="+mn-ea"/>
              <a:cs typeface="+mn-cs"/>
              <a:sym typeface="Circular Pro Book"/>
            </a:endParaRPr>
          </a:p>
        </p:txBody>
      </p:sp>
      <p:sp>
        <p:nvSpPr>
          <p:cNvPr id="50" name="CaixaDeTexto 47">
            <a:extLst>
              <a:ext uri="{FF2B5EF4-FFF2-40B4-BE49-F238E27FC236}">
                <a16:creationId xmlns:a16="http://schemas.microsoft.com/office/drawing/2014/main" id="{F9618948-4D25-480E-AEB6-418B4C223AD4}"/>
              </a:ext>
            </a:extLst>
          </p:cNvPr>
          <p:cNvSpPr txBox="1"/>
          <p:nvPr/>
        </p:nvSpPr>
        <p:spPr>
          <a:xfrm>
            <a:off x="6145697" y="2144921"/>
            <a:ext cx="5747430" cy="4524315"/>
          </a:xfrm>
          <a:prstGeom prst="rect">
            <a:avLst/>
          </a:prstGeom>
          <a:noFill/>
        </p:spPr>
        <p:txBody>
          <a:bodyPr wrap="square">
            <a:spAutoFit/>
          </a:bodyPr>
          <a:lstStyle/>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月初に</a:t>
            </a:r>
            <a:r>
              <a:rPr lang="es-ES" altLang="ja-JP" sz="1600" dirty="0">
                <a:solidFill>
                  <a:prstClr val="black"/>
                </a:solidFill>
                <a:latin typeface="ＭＳ Ｐゴシック" panose="020B0600070205080204" pitchFamily="50" charset="-128"/>
                <a:ea typeface="ＭＳ Ｐゴシック" panose="020B0600070205080204" pitchFamily="50" charset="-128"/>
              </a:rPr>
              <a:t>4000</a:t>
            </a:r>
            <a:r>
              <a:rPr lang="ja-JP" altLang="es-ES" sz="1600" dirty="0">
                <a:solidFill>
                  <a:prstClr val="black"/>
                </a:solidFill>
                <a:latin typeface="ＭＳ Ｐゴシック" panose="020B0600070205080204" pitchFamily="50" charset="-128"/>
                <a:ea typeface="ＭＳ Ｐゴシック" panose="020B0600070205080204" pitchFamily="50" charset="-128"/>
              </a:rPr>
              <a:t>を超える健康保険契約書を確認し、</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契約書番号をマニュアルでシステム入力後、</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各顧客の加入料支払いを確認。</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支払済みのお客様に対してシステム上で保険の有効化設定。</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endParaRPr lang="es-ES"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es-ES" altLang="ja-JP" sz="1600" dirty="0">
                <a:solidFill>
                  <a:prstClr val="black"/>
                </a:solidFill>
                <a:latin typeface="ＭＳ Ｐゴシック" panose="020B0600070205080204" pitchFamily="50" charset="-128"/>
                <a:ea typeface="ＭＳ Ｐゴシック" panose="020B0600070205080204" pitchFamily="50" charset="-128"/>
              </a:rPr>
              <a:t>【</a:t>
            </a:r>
            <a:r>
              <a:rPr lang="ja-JP" altLang="es-ES" sz="1600" dirty="0">
                <a:solidFill>
                  <a:prstClr val="black"/>
                </a:solidFill>
                <a:latin typeface="ＭＳ Ｐゴシック" panose="020B0600070205080204" pitchFamily="50" charset="-128"/>
                <a:ea typeface="ＭＳ Ｐゴシック" panose="020B0600070205080204" pitchFamily="50" charset="-128"/>
              </a:rPr>
              <a:t>効果</a:t>
            </a:r>
            <a:r>
              <a:rPr lang="es-ES" altLang="ja-JP" sz="1600" dirty="0">
                <a:solidFill>
                  <a:prstClr val="black"/>
                </a:solidFill>
                <a:latin typeface="ＭＳ Ｐゴシック" panose="020B0600070205080204" pitchFamily="50" charset="-128"/>
                <a:ea typeface="ＭＳ Ｐゴシック" panose="020B0600070205080204" pitchFamily="50" charset="-128"/>
              </a:rPr>
              <a:t>】</a:t>
            </a: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a:t>
            </a:r>
            <a:r>
              <a:rPr lang="es-ES" altLang="ja-JP" sz="1600" dirty="0">
                <a:solidFill>
                  <a:prstClr val="black"/>
                </a:solidFill>
                <a:latin typeface="ＭＳ Ｐゴシック" panose="020B0600070205080204" pitchFamily="50" charset="-128"/>
                <a:ea typeface="ＭＳ Ｐゴシック" panose="020B0600070205080204" pitchFamily="50" charset="-128"/>
              </a:rPr>
              <a:t>10</a:t>
            </a:r>
            <a:r>
              <a:rPr lang="ja-JP" altLang="es-ES" sz="1600" dirty="0">
                <a:solidFill>
                  <a:prstClr val="black"/>
                </a:solidFill>
                <a:latin typeface="ＭＳ Ｐゴシック" panose="020B0600070205080204" pitchFamily="50" charset="-128"/>
                <a:ea typeface="ＭＳ Ｐゴシック" panose="020B0600070205080204" pitchFamily="50" charset="-128"/>
              </a:rPr>
              <a:t>人月のリソースを</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　別業務へ配置転換</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業務スピード</a:t>
            </a:r>
            <a:r>
              <a:rPr lang="es-ES" altLang="ja-JP" sz="1600" dirty="0">
                <a:solidFill>
                  <a:prstClr val="black"/>
                </a:solidFill>
                <a:latin typeface="ＭＳ Ｐゴシック" panose="020B0600070205080204" pitchFamily="50" charset="-128"/>
                <a:ea typeface="ＭＳ Ｐゴシック" panose="020B0600070205080204" pitchFamily="50" charset="-128"/>
              </a:rPr>
              <a:t>60%</a:t>
            </a:r>
            <a:r>
              <a:rPr lang="ja-JP" altLang="es-ES" sz="1600" dirty="0">
                <a:solidFill>
                  <a:prstClr val="black"/>
                </a:solidFill>
                <a:latin typeface="ＭＳ Ｐゴシック" panose="020B0600070205080204" pitchFamily="50" charset="-128"/>
                <a:ea typeface="ＭＳ Ｐゴシック" panose="020B0600070205080204" pitchFamily="50" charset="-128"/>
              </a:rPr>
              <a:t>向上</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全体でのマニュアルミス</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r>
              <a:rPr lang="ja-JP" altLang="es-ES" sz="1600" dirty="0">
                <a:solidFill>
                  <a:prstClr val="black"/>
                </a:solidFill>
                <a:latin typeface="ＭＳ Ｐゴシック" panose="020B0600070205080204" pitchFamily="50" charset="-128"/>
                <a:ea typeface="ＭＳ Ｐゴシック" panose="020B0600070205080204" pitchFamily="50" charset="-128"/>
              </a:rPr>
              <a:t>　による誤支払い</a:t>
            </a:r>
            <a:r>
              <a:rPr lang="es-ES" altLang="ja-JP" sz="1600" dirty="0">
                <a:solidFill>
                  <a:prstClr val="black"/>
                </a:solidFill>
                <a:latin typeface="ＭＳ Ｐゴシック" panose="020B0600070205080204" pitchFamily="50" charset="-128"/>
                <a:ea typeface="ＭＳ Ｐゴシック" panose="020B0600070205080204" pitchFamily="50" charset="-128"/>
              </a:rPr>
              <a:t>30%</a:t>
            </a:r>
            <a:r>
              <a:rPr lang="ja-JP" altLang="es-ES" sz="1600" dirty="0">
                <a:solidFill>
                  <a:prstClr val="black"/>
                </a:solidFill>
                <a:latin typeface="ＭＳ Ｐゴシック" panose="020B0600070205080204" pitchFamily="50" charset="-128"/>
                <a:ea typeface="ＭＳ Ｐゴシック" panose="020B0600070205080204" pitchFamily="50" charset="-128"/>
              </a:rPr>
              <a:t>低減</a:t>
            </a:r>
            <a:endParaRPr lang="es-ES" sz="1600" dirty="0">
              <a:solidFill>
                <a:prstClr val="black"/>
              </a:solidFill>
              <a:latin typeface="ＭＳ Ｐゴシック" panose="020B0600070205080204" pitchFamily="50" charset="-128"/>
              <a:ea typeface="ＭＳ Ｐゴシック" panose="020B0600070205080204" pitchFamily="50" charset="-128"/>
            </a:endParaRPr>
          </a:p>
          <a:p>
            <a:pPr marR="0" lvl="0" defTabSz="914400" eaLnBrk="1" fontAlgn="auto" latinLnBrk="0" hangingPunct="1">
              <a:lnSpc>
                <a:spcPct val="150000"/>
              </a:lnSpc>
              <a:spcBef>
                <a:spcPts val="0"/>
              </a:spcBef>
              <a:spcAft>
                <a:spcPts val="0"/>
              </a:spcAft>
              <a:buClrTx/>
              <a:buSzTx/>
              <a:tabLst/>
              <a:defRPr/>
            </a:pPr>
            <a:endParaRPr lang="pt-BR" sz="1600" dirty="0">
              <a:solidFill>
                <a:prstClr val="black"/>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68277298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p:cNvPicPr>
            <a:picLocks noChangeAspect="1"/>
          </p:cNvPicPr>
          <p:nvPr/>
        </p:nvPicPr>
        <p:blipFill>
          <a:blip r:embed="rId9"/>
          <a:stretch>
            <a:fillRect/>
          </a:stretch>
        </p:blipFill>
        <p:spPr>
          <a:xfrm>
            <a:off x="5966499" y="1388976"/>
            <a:ext cx="5672234" cy="5071459"/>
          </a:xfrm>
          <a:prstGeom prst="rect">
            <a:avLst/>
          </a:prstGeom>
        </p:spPr>
      </p:pic>
      <p:sp>
        <p:nvSpPr>
          <p:cNvPr id="4" name="Marcador de texto 3"/>
          <p:cNvSpPr>
            <a:spLocks noGrp="1"/>
          </p:cNvSpPr>
          <p:nvPr>
            <p:ph type="body" sz="quarter" idx="21"/>
          </p:nvPr>
        </p:nvSpPr>
        <p:spPr/>
        <p:txBody>
          <a:bodyPr/>
          <a:lstStyle/>
          <a:p>
            <a:r>
              <a:rPr lang="es-ES" altLang="ja-JP" sz="2400" dirty="0"/>
              <a:t>0</a:t>
            </a:r>
            <a:r>
              <a:rPr lang="en-US" altLang="ja-JP" sz="2400" dirty="0"/>
              <a:t>4</a:t>
            </a:r>
            <a:r>
              <a:rPr lang="es-ES" altLang="ja-JP" sz="2400" dirty="0"/>
              <a:t>. </a:t>
            </a:r>
            <a:r>
              <a:rPr lang="ja-JP" altLang="es-ES" sz="2400" dirty="0"/>
              <a:t>事例</a:t>
            </a:r>
            <a:r>
              <a:rPr lang="es-ES" altLang="ja-JP" sz="2400" dirty="0"/>
              <a:t>:</a:t>
            </a:r>
            <a:r>
              <a:rPr lang="ja-JP" altLang="es-ES" sz="2400" dirty="0"/>
              <a:t> </a:t>
            </a:r>
            <a:r>
              <a:rPr lang="es-ES" altLang="ja-JP" sz="2400" dirty="0">
                <a:latin typeface="ＭＳ Ｐゴシック" panose="020B0600070205080204" pitchFamily="50" charset="-128"/>
                <a:ea typeface="ＭＳ Ｐゴシック" panose="020B0600070205080204" pitchFamily="50" charset="-128"/>
              </a:rPr>
              <a:t>Volkswagen Brasil</a:t>
            </a:r>
            <a:endParaRPr lang="en-GB" sz="2400" dirty="0">
              <a:latin typeface="ＭＳ Ｐゴシック" panose="020B0600070205080204" pitchFamily="50" charset="-128"/>
              <a:ea typeface="ＭＳ Ｐゴシック" panose="020B0600070205080204" pitchFamily="50" charset="-128"/>
            </a:endParaRPr>
          </a:p>
        </p:txBody>
      </p:sp>
      <p:sp>
        <p:nvSpPr>
          <p:cNvPr id="5" name="Rectangle 158"/>
          <p:cNvSpPr/>
          <p:nvPr/>
        </p:nvSpPr>
        <p:spPr>
          <a:xfrm>
            <a:off x="677432" y="1376218"/>
            <a:ext cx="5239151" cy="1108566"/>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US" sz="1600" b="1" kern="0" dirty="0">
                <a:solidFill>
                  <a:prstClr val="black"/>
                </a:solidFill>
              </a:rPr>
              <a:t>             </a:t>
            </a:r>
            <a:endParaRPr lang="en-US" sz="1600" kern="0" dirty="0">
              <a:solidFill>
                <a:prstClr val="black"/>
              </a:solidFill>
            </a:endParaRPr>
          </a:p>
        </p:txBody>
      </p:sp>
      <p:sp>
        <p:nvSpPr>
          <p:cNvPr id="6" name="Rectangle 159"/>
          <p:cNvSpPr/>
          <p:nvPr/>
        </p:nvSpPr>
        <p:spPr>
          <a:xfrm>
            <a:off x="511453" y="1376218"/>
            <a:ext cx="165980" cy="5084218"/>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defRPr/>
            </a:pPr>
            <a:endParaRPr lang="en-US" kern="0" dirty="0">
              <a:solidFill>
                <a:prstClr val="black"/>
              </a:solidFill>
            </a:endParaRPr>
          </a:p>
        </p:txBody>
      </p:sp>
      <p:grpSp>
        <p:nvGrpSpPr>
          <p:cNvPr id="7" name="Group 14">
            <a:extLst>
              <a:ext uri="{FF2B5EF4-FFF2-40B4-BE49-F238E27FC236}">
                <a16:creationId xmlns:a16="http://schemas.microsoft.com/office/drawing/2014/main" id="{1C37A94A-2FB5-48D0-A786-B43F2FD416E0}"/>
              </a:ext>
            </a:extLst>
          </p:cNvPr>
          <p:cNvGrpSpPr/>
          <p:nvPr/>
        </p:nvGrpSpPr>
        <p:grpSpPr>
          <a:xfrm>
            <a:off x="759417" y="1474749"/>
            <a:ext cx="552985" cy="552985"/>
            <a:chOff x="761861" y="3510594"/>
            <a:chExt cx="552985" cy="552985"/>
          </a:xfrm>
        </p:grpSpPr>
        <p:sp>
          <p:nvSpPr>
            <p:cNvPr id="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grpSp>
          <p:nvGrpSpPr>
            <p:cNvPr id="10" name="Identification" descr="{&quot;Key&quot;:&quot;POWER_USER_SHAPE_ICON&quot;,&quot;Value&quot;:&quot;POWER_USER_SHAPE_ICON_STYLE_1&quot;}">
              <a:extLst>
                <a:ext uri="{FF2B5EF4-FFF2-40B4-BE49-F238E27FC236}">
                  <a16:creationId xmlns:a16="http://schemas.microsoft.com/office/drawing/2014/main" id="{A31C51EF-54B7-4BE6-A471-94D27E8E60C2}"/>
                </a:ext>
              </a:extLst>
            </p:cNvPr>
            <p:cNvGrpSpPr>
              <a:grpSpLocks noChangeAspect="1"/>
            </p:cNvGrpSpPr>
            <p:nvPr>
              <p:custDataLst>
                <p:tags r:id="rId5"/>
              </p:custDataLst>
            </p:nvPr>
          </p:nvGrpSpPr>
          <p:grpSpPr bwMode="auto">
            <a:xfrm>
              <a:off x="832266" y="3655978"/>
              <a:ext cx="415466" cy="259297"/>
              <a:chOff x="81" y="144"/>
              <a:chExt cx="282" cy="176"/>
            </a:xfrm>
            <a:solidFill>
              <a:schemeClr val="bg1"/>
            </a:solidFill>
          </p:grpSpPr>
          <p:sp>
            <p:nvSpPr>
              <p:cNvPr id="11" name="Identification">
                <a:extLst>
                  <a:ext uri="{FF2B5EF4-FFF2-40B4-BE49-F238E27FC236}">
                    <a16:creationId xmlns:a16="http://schemas.microsoft.com/office/drawing/2014/main" id="{33C0A75F-109D-445B-95D8-C18C514E0300}"/>
                  </a:ext>
                </a:extLst>
              </p:cNvPr>
              <p:cNvSpPr>
                <a:spLocks noEditPoints="1"/>
              </p:cNvSpPr>
              <p:nvPr>
                <p:custDataLst>
                  <p:tags r:id="rId6"/>
                </p:custDataLst>
              </p:nvPr>
            </p:nvSpPr>
            <p:spPr bwMode="auto">
              <a:xfrm>
                <a:off x="81" y="144"/>
                <a:ext cx="282" cy="176"/>
              </a:xfrm>
              <a:custGeom>
                <a:avLst/>
                <a:gdLst>
                  <a:gd name="T0" fmla="*/ 346 w 753"/>
                  <a:gd name="T1" fmla="*/ 164 h 467"/>
                  <a:gd name="T2" fmla="*/ 51 w 753"/>
                  <a:gd name="T3" fmla="*/ 164 h 467"/>
                  <a:gd name="T4" fmla="*/ 51 w 753"/>
                  <a:gd name="T5" fmla="*/ 206 h 467"/>
                  <a:gd name="T6" fmla="*/ 346 w 753"/>
                  <a:gd name="T7" fmla="*/ 206 h 467"/>
                  <a:gd name="T8" fmla="*/ 346 w 753"/>
                  <a:gd name="T9" fmla="*/ 164 h 467"/>
                  <a:gd name="T10" fmla="*/ 51 w 753"/>
                  <a:gd name="T11" fmla="*/ 363 h 467"/>
                  <a:gd name="T12" fmla="*/ 346 w 753"/>
                  <a:gd name="T13" fmla="*/ 363 h 467"/>
                  <a:gd name="T14" fmla="*/ 346 w 753"/>
                  <a:gd name="T15" fmla="*/ 321 h 467"/>
                  <a:gd name="T16" fmla="*/ 51 w 753"/>
                  <a:gd name="T17" fmla="*/ 321 h 467"/>
                  <a:gd name="T18" fmla="*/ 51 w 753"/>
                  <a:gd name="T19" fmla="*/ 363 h 467"/>
                  <a:gd name="T20" fmla="*/ 51 w 753"/>
                  <a:gd name="T21" fmla="*/ 85 h 467"/>
                  <a:gd name="T22" fmla="*/ 51 w 753"/>
                  <a:gd name="T23" fmla="*/ 127 h 467"/>
                  <a:gd name="T24" fmla="*/ 346 w 753"/>
                  <a:gd name="T25" fmla="*/ 127 h 467"/>
                  <a:gd name="T26" fmla="*/ 346 w 753"/>
                  <a:gd name="T27" fmla="*/ 85 h 467"/>
                  <a:gd name="T28" fmla="*/ 51 w 753"/>
                  <a:gd name="T29" fmla="*/ 85 h 467"/>
                  <a:gd name="T30" fmla="*/ 384 w 753"/>
                  <a:gd name="T31" fmla="*/ 119 h 467"/>
                  <a:gd name="T32" fmla="*/ 384 w 753"/>
                  <a:gd name="T33" fmla="*/ 328 h 467"/>
                  <a:gd name="T34" fmla="*/ 404 w 753"/>
                  <a:gd name="T35" fmla="*/ 321 h 467"/>
                  <a:gd name="T36" fmla="*/ 506 w 753"/>
                  <a:gd name="T37" fmla="*/ 276 h 467"/>
                  <a:gd name="T38" fmla="*/ 509 w 753"/>
                  <a:gd name="T39" fmla="*/ 276 h 467"/>
                  <a:gd name="T40" fmla="*/ 506 w 753"/>
                  <a:gd name="T41" fmla="*/ 274 h 467"/>
                  <a:gd name="T42" fmla="*/ 459 w 753"/>
                  <a:gd name="T43" fmla="*/ 165 h 467"/>
                  <a:gd name="T44" fmla="*/ 545 w 753"/>
                  <a:gd name="T45" fmla="*/ 76 h 467"/>
                  <a:gd name="T46" fmla="*/ 628 w 753"/>
                  <a:gd name="T47" fmla="*/ 167 h 467"/>
                  <a:gd name="T48" fmla="*/ 578 w 753"/>
                  <a:gd name="T49" fmla="*/ 275 h 467"/>
                  <a:gd name="T50" fmla="*/ 680 w 753"/>
                  <a:gd name="T51" fmla="*/ 321 h 467"/>
                  <a:gd name="T52" fmla="*/ 713 w 753"/>
                  <a:gd name="T53" fmla="*/ 337 h 467"/>
                  <a:gd name="T54" fmla="*/ 713 w 753"/>
                  <a:gd name="T55" fmla="*/ 119 h 467"/>
                  <a:gd name="T56" fmla="*/ 656 w 753"/>
                  <a:gd name="T57" fmla="*/ 61 h 467"/>
                  <a:gd name="T58" fmla="*/ 545 w 753"/>
                  <a:gd name="T59" fmla="*/ 61 h 467"/>
                  <a:gd name="T60" fmla="*/ 442 w 753"/>
                  <a:gd name="T61" fmla="*/ 61 h 467"/>
                  <a:gd name="T62" fmla="*/ 384 w 753"/>
                  <a:gd name="T63" fmla="*/ 119 h 467"/>
                  <a:gd name="T64" fmla="*/ 51 w 753"/>
                  <a:gd name="T65" fmla="*/ 242 h 467"/>
                  <a:gd name="T66" fmla="*/ 51 w 753"/>
                  <a:gd name="T67" fmla="*/ 284 h 467"/>
                  <a:gd name="T68" fmla="*/ 346 w 753"/>
                  <a:gd name="T69" fmla="*/ 284 h 467"/>
                  <a:gd name="T70" fmla="*/ 346 w 753"/>
                  <a:gd name="T71" fmla="*/ 242 h 467"/>
                  <a:gd name="T72" fmla="*/ 51 w 753"/>
                  <a:gd name="T73" fmla="*/ 242 h 467"/>
                  <a:gd name="T74" fmla="*/ 753 w 753"/>
                  <a:gd name="T75" fmla="*/ 414 h 467"/>
                  <a:gd name="T76" fmla="*/ 701 w 753"/>
                  <a:gd name="T77" fmla="*/ 467 h 467"/>
                  <a:gd name="T78" fmla="*/ 53 w 753"/>
                  <a:gd name="T79" fmla="*/ 467 h 467"/>
                  <a:gd name="T80" fmla="*/ 0 w 753"/>
                  <a:gd name="T81" fmla="*/ 414 h 467"/>
                  <a:gd name="T82" fmla="*/ 0 w 753"/>
                  <a:gd name="T83" fmla="*/ 53 h 467"/>
                  <a:gd name="T84" fmla="*/ 53 w 753"/>
                  <a:gd name="T85" fmla="*/ 0 h 467"/>
                  <a:gd name="T86" fmla="*/ 701 w 753"/>
                  <a:gd name="T87" fmla="*/ 0 h 467"/>
                  <a:gd name="T88" fmla="*/ 753 w 753"/>
                  <a:gd name="T89" fmla="*/ 53 h 467"/>
                  <a:gd name="T90" fmla="*/ 753 w 753"/>
                  <a:gd name="T91" fmla="*/ 414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3" h="467">
                    <a:moveTo>
                      <a:pt x="346" y="164"/>
                    </a:moveTo>
                    <a:lnTo>
                      <a:pt x="51" y="164"/>
                    </a:lnTo>
                    <a:lnTo>
                      <a:pt x="51" y="206"/>
                    </a:lnTo>
                    <a:lnTo>
                      <a:pt x="346" y="206"/>
                    </a:lnTo>
                    <a:lnTo>
                      <a:pt x="346" y="164"/>
                    </a:lnTo>
                    <a:close/>
                    <a:moveTo>
                      <a:pt x="51" y="363"/>
                    </a:moveTo>
                    <a:lnTo>
                      <a:pt x="346" y="363"/>
                    </a:lnTo>
                    <a:lnTo>
                      <a:pt x="346" y="321"/>
                    </a:lnTo>
                    <a:lnTo>
                      <a:pt x="51" y="321"/>
                    </a:lnTo>
                    <a:lnTo>
                      <a:pt x="51" y="363"/>
                    </a:lnTo>
                    <a:close/>
                    <a:moveTo>
                      <a:pt x="51" y="85"/>
                    </a:moveTo>
                    <a:lnTo>
                      <a:pt x="51" y="127"/>
                    </a:lnTo>
                    <a:lnTo>
                      <a:pt x="346" y="127"/>
                    </a:lnTo>
                    <a:lnTo>
                      <a:pt x="346" y="85"/>
                    </a:lnTo>
                    <a:lnTo>
                      <a:pt x="51" y="85"/>
                    </a:lnTo>
                    <a:close/>
                    <a:moveTo>
                      <a:pt x="384" y="119"/>
                    </a:moveTo>
                    <a:lnTo>
                      <a:pt x="384" y="328"/>
                    </a:lnTo>
                    <a:cubicBezTo>
                      <a:pt x="390" y="326"/>
                      <a:pt x="397" y="323"/>
                      <a:pt x="404" y="321"/>
                    </a:cubicBezTo>
                    <a:cubicBezTo>
                      <a:pt x="467" y="304"/>
                      <a:pt x="499" y="297"/>
                      <a:pt x="506" y="276"/>
                    </a:cubicBezTo>
                    <a:lnTo>
                      <a:pt x="509" y="276"/>
                    </a:lnTo>
                    <a:cubicBezTo>
                      <a:pt x="508" y="275"/>
                      <a:pt x="507" y="275"/>
                      <a:pt x="506" y="274"/>
                    </a:cubicBezTo>
                    <a:cubicBezTo>
                      <a:pt x="480" y="250"/>
                      <a:pt x="459" y="203"/>
                      <a:pt x="459" y="165"/>
                    </a:cubicBezTo>
                    <a:cubicBezTo>
                      <a:pt x="459" y="111"/>
                      <a:pt x="503" y="76"/>
                      <a:pt x="545" y="76"/>
                    </a:cubicBezTo>
                    <a:cubicBezTo>
                      <a:pt x="586" y="76"/>
                      <a:pt x="628" y="114"/>
                      <a:pt x="628" y="167"/>
                    </a:cubicBezTo>
                    <a:cubicBezTo>
                      <a:pt x="628" y="205"/>
                      <a:pt x="606" y="251"/>
                      <a:pt x="578" y="275"/>
                    </a:cubicBezTo>
                    <a:cubicBezTo>
                      <a:pt x="583" y="296"/>
                      <a:pt x="615" y="304"/>
                      <a:pt x="680" y="321"/>
                    </a:cubicBezTo>
                    <a:cubicBezTo>
                      <a:pt x="694" y="325"/>
                      <a:pt x="705" y="331"/>
                      <a:pt x="713" y="337"/>
                    </a:cubicBezTo>
                    <a:lnTo>
                      <a:pt x="713" y="119"/>
                    </a:lnTo>
                    <a:cubicBezTo>
                      <a:pt x="713" y="87"/>
                      <a:pt x="688" y="61"/>
                      <a:pt x="656" y="61"/>
                    </a:cubicBezTo>
                    <a:lnTo>
                      <a:pt x="545" y="61"/>
                    </a:lnTo>
                    <a:lnTo>
                      <a:pt x="442" y="61"/>
                    </a:lnTo>
                    <a:cubicBezTo>
                      <a:pt x="410" y="61"/>
                      <a:pt x="384" y="87"/>
                      <a:pt x="384" y="119"/>
                    </a:cubicBezTo>
                    <a:close/>
                    <a:moveTo>
                      <a:pt x="51" y="242"/>
                    </a:moveTo>
                    <a:lnTo>
                      <a:pt x="51" y="284"/>
                    </a:lnTo>
                    <a:lnTo>
                      <a:pt x="346" y="284"/>
                    </a:lnTo>
                    <a:lnTo>
                      <a:pt x="346" y="242"/>
                    </a:lnTo>
                    <a:lnTo>
                      <a:pt x="51" y="242"/>
                    </a:lnTo>
                    <a:close/>
                    <a:moveTo>
                      <a:pt x="753" y="414"/>
                    </a:moveTo>
                    <a:cubicBezTo>
                      <a:pt x="753" y="443"/>
                      <a:pt x="730" y="467"/>
                      <a:pt x="701" y="467"/>
                    </a:cubicBezTo>
                    <a:lnTo>
                      <a:pt x="53" y="467"/>
                    </a:lnTo>
                    <a:cubicBezTo>
                      <a:pt x="24" y="467"/>
                      <a:pt x="0" y="443"/>
                      <a:pt x="0" y="414"/>
                    </a:cubicBezTo>
                    <a:lnTo>
                      <a:pt x="0" y="53"/>
                    </a:lnTo>
                    <a:cubicBezTo>
                      <a:pt x="0" y="24"/>
                      <a:pt x="24" y="0"/>
                      <a:pt x="53" y="0"/>
                    </a:cubicBezTo>
                    <a:lnTo>
                      <a:pt x="701" y="0"/>
                    </a:lnTo>
                    <a:cubicBezTo>
                      <a:pt x="730" y="0"/>
                      <a:pt x="753" y="24"/>
                      <a:pt x="753" y="53"/>
                    </a:cubicBezTo>
                    <a:lnTo>
                      <a:pt x="753" y="4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12" name="Identification">
                <a:extLst>
                  <a:ext uri="{FF2B5EF4-FFF2-40B4-BE49-F238E27FC236}">
                    <a16:creationId xmlns:a16="http://schemas.microsoft.com/office/drawing/2014/main" id="{985152F4-D0AD-4849-84AF-E45ED4C87A0A}"/>
                  </a:ext>
                </a:extLst>
              </p:cNvPr>
              <p:cNvSpPr>
                <a:spLocks/>
              </p:cNvSpPr>
              <p:nvPr>
                <p:custDataLst>
                  <p:tags r:id="rId7"/>
                </p:custDataLst>
              </p:nvPr>
            </p:nvSpPr>
            <p:spPr bwMode="auto">
              <a:xfrm>
                <a:off x="271" y="247"/>
                <a:ext cx="1" cy="1"/>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sp>
        <p:nvSpPr>
          <p:cNvPr id="2" name="Rectángulo 1"/>
          <p:cNvSpPr/>
          <p:nvPr/>
        </p:nvSpPr>
        <p:spPr>
          <a:xfrm>
            <a:off x="1322563" y="1444986"/>
            <a:ext cx="3905236" cy="369332"/>
          </a:xfrm>
          <a:prstGeom prst="rect">
            <a:avLst/>
          </a:prstGeom>
        </p:spPr>
        <p:txBody>
          <a:bodyPr wrap="none">
            <a:spAutoFit/>
          </a:bodyPr>
          <a:lstStyle/>
          <a:p>
            <a:r>
              <a:rPr lang="ja-JP" altLang="es-ES" b="1" dirty="0">
                <a:solidFill>
                  <a:prstClr val="black"/>
                </a:solidFill>
                <a:latin typeface="ＭＳ Ｐゴシック" panose="020B0600070205080204" pitchFamily="50" charset="-128"/>
                <a:ea typeface="ＭＳ Ｐゴシック" panose="020B0600070205080204" pitchFamily="50" charset="-128"/>
              </a:rPr>
              <a:t>部署横断の業務自動化（効率化）活動</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sp>
        <p:nvSpPr>
          <p:cNvPr id="13" name="Rectángulo 12"/>
          <p:cNvSpPr/>
          <p:nvPr/>
        </p:nvSpPr>
        <p:spPr>
          <a:xfrm>
            <a:off x="1391143" y="1804556"/>
            <a:ext cx="3719288" cy="584775"/>
          </a:xfrm>
          <a:prstGeom prst="rect">
            <a:avLst/>
          </a:prstGeom>
        </p:spPr>
        <p:txBody>
          <a:bodyPr wrap="none">
            <a:spAutoFit/>
          </a:bodyPr>
          <a:lstStyle/>
          <a:p>
            <a:r>
              <a:rPr lang="ja-JP" altLang="es-ES" sz="1600" dirty="0">
                <a:solidFill>
                  <a:prstClr val="black"/>
                </a:solidFill>
                <a:latin typeface="ＭＳ Ｐゴシック" panose="020B0600070205080204" pitchFamily="50" charset="-128"/>
                <a:ea typeface="ＭＳ Ｐゴシック" panose="020B0600070205080204" pitchFamily="50" charset="-128"/>
              </a:rPr>
              <a:t>複数プロセスを自動化することにより、</a:t>
            </a:r>
            <a:endParaRPr lang="es-ES" altLang="ja-JP" sz="1600" dirty="0">
              <a:solidFill>
                <a:prstClr val="black"/>
              </a:solidFill>
              <a:latin typeface="ＭＳ Ｐゴシック" panose="020B0600070205080204" pitchFamily="50" charset="-128"/>
              <a:ea typeface="ＭＳ Ｐゴシック" panose="020B0600070205080204" pitchFamily="50" charset="-128"/>
            </a:endParaRPr>
          </a:p>
          <a:p>
            <a:r>
              <a:rPr lang="ja-JP" altLang="es-ES" sz="1600" dirty="0">
                <a:solidFill>
                  <a:prstClr val="black"/>
                </a:solidFill>
                <a:latin typeface="ＭＳ Ｐゴシック" panose="020B0600070205080204" pitchFamily="50" charset="-128"/>
                <a:ea typeface="ＭＳ Ｐゴシック" panose="020B0600070205080204" pitchFamily="50" charset="-128"/>
              </a:rPr>
              <a:t>社内全体の業務の最適化・効率化を図る</a:t>
            </a:r>
            <a:endParaRPr lang="en-US" sz="1600" dirty="0">
              <a:solidFill>
                <a:prstClr val="black"/>
              </a:solidFill>
              <a:latin typeface="ＭＳ Ｐゴシック" panose="020B0600070205080204" pitchFamily="50" charset="-128"/>
              <a:ea typeface="ＭＳ Ｐゴシック" panose="020B0600070205080204" pitchFamily="50" charset="-128"/>
            </a:endParaRPr>
          </a:p>
        </p:txBody>
      </p:sp>
      <p:sp>
        <p:nvSpPr>
          <p:cNvPr id="14" name="Rectangle 111"/>
          <p:cNvSpPr/>
          <p:nvPr/>
        </p:nvSpPr>
        <p:spPr>
          <a:xfrm>
            <a:off x="677432" y="4800600"/>
            <a:ext cx="5239151" cy="165983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endParaRPr lang="en-US" kern="0" dirty="0">
              <a:solidFill>
                <a:prstClr val="black"/>
              </a:solidFill>
            </a:endParaRPr>
          </a:p>
        </p:txBody>
      </p:sp>
      <p:grpSp>
        <p:nvGrpSpPr>
          <p:cNvPr id="27" name="Group 14">
            <a:extLst>
              <a:ext uri="{FF2B5EF4-FFF2-40B4-BE49-F238E27FC236}">
                <a16:creationId xmlns:a16="http://schemas.microsoft.com/office/drawing/2014/main" id="{1C37A94A-2FB5-48D0-A786-B43F2FD416E0}"/>
              </a:ext>
            </a:extLst>
          </p:cNvPr>
          <p:cNvGrpSpPr/>
          <p:nvPr/>
        </p:nvGrpSpPr>
        <p:grpSpPr>
          <a:xfrm>
            <a:off x="740449" y="4830362"/>
            <a:ext cx="552985" cy="552985"/>
            <a:chOff x="761861" y="3510594"/>
            <a:chExt cx="552985" cy="552985"/>
          </a:xfrm>
        </p:grpSpPr>
        <p:sp>
          <p:nvSpPr>
            <p:cNvPr id="28"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29"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32" name="Identification">
              <a:extLst>
                <a:ext uri="{FF2B5EF4-FFF2-40B4-BE49-F238E27FC236}">
                  <a16:creationId xmlns:a16="http://schemas.microsoft.com/office/drawing/2014/main" id="{985152F4-D0AD-4849-84AF-E45ED4C87A0A}"/>
                </a:ext>
              </a:extLst>
            </p:cNvPr>
            <p:cNvSpPr>
              <a:spLocks/>
            </p:cNvSpPr>
            <p:nvPr>
              <p:custDataLst>
                <p:tags r:id="rId4"/>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38" name="Performance2" descr="{&quot;Key&quot;:&quot;POWER_USER_SHAPE_ICON&quot;,&quot;Value&quot;:&quot;POWER_USER_SHAPE_ICON_STYLE_1&quot;}">
            <a:extLst>
              <a:ext uri="{FF2B5EF4-FFF2-40B4-BE49-F238E27FC236}">
                <a16:creationId xmlns:a16="http://schemas.microsoft.com/office/drawing/2014/main" id="{CFE264C0-BB04-4740-BE6D-9253E9D43B05}"/>
              </a:ext>
            </a:extLst>
          </p:cNvPr>
          <p:cNvGrpSpPr>
            <a:grpSpLocks noChangeAspect="1"/>
          </p:cNvGrpSpPr>
          <p:nvPr/>
        </p:nvGrpSpPr>
        <p:grpSpPr>
          <a:xfrm>
            <a:off x="817650" y="4858379"/>
            <a:ext cx="366454" cy="467741"/>
            <a:chOff x="412750" y="4575176"/>
            <a:chExt cx="511175" cy="652463"/>
          </a:xfrm>
          <a:solidFill>
            <a:schemeClr val="bg1"/>
          </a:solidFill>
        </p:grpSpPr>
        <p:sp>
          <p:nvSpPr>
            <p:cNvPr id="39" name="Freeform 173">
              <a:extLst>
                <a:ext uri="{FF2B5EF4-FFF2-40B4-BE49-F238E27FC236}">
                  <a16:creationId xmlns:a16="http://schemas.microsoft.com/office/drawing/2014/main" id="{8A2181E1-CDD9-4F58-9BB4-DC1229B6D753}"/>
                </a:ext>
              </a:extLst>
            </p:cNvPr>
            <p:cNvSpPr>
              <a:spLocks noEditPoints="1"/>
            </p:cNvSpPr>
            <p:nvPr/>
          </p:nvSpPr>
          <p:spPr bwMode="auto">
            <a:xfrm>
              <a:off x="412750" y="4575176"/>
              <a:ext cx="511175" cy="652463"/>
            </a:xfrm>
            <a:custGeom>
              <a:avLst/>
              <a:gdLst>
                <a:gd name="T0" fmla="*/ 748 w 856"/>
                <a:gd name="T1" fmla="*/ 639 h 1091"/>
                <a:gd name="T2" fmla="*/ 319 w 856"/>
                <a:gd name="T3" fmla="*/ 1058 h 1091"/>
                <a:gd name="T4" fmla="*/ 266 w 856"/>
                <a:gd name="T5" fmla="*/ 833 h 1091"/>
                <a:gd name="T6" fmla="*/ 153 w 856"/>
                <a:gd name="T7" fmla="*/ 833 h 1091"/>
                <a:gd name="T8" fmla="*/ 115 w 856"/>
                <a:gd name="T9" fmla="*/ 724 h 1091"/>
                <a:gd name="T10" fmla="*/ 86 w 856"/>
                <a:gd name="T11" fmla="*/ 692 h 1091"/>
                <a:gd name="T12" fmla="*/ 86 w 856"/>
                <a:gd name="T13" fmla="*/ 688 h 1091"/>
                <a:gd name="T14" fmla="*/ 111 w 856"/>
                <a:gd name="T15" fmla="*/ 664 h 1091"/>
                <a:gd name="T16" fmla="*/ 86 w 856"/>
                <a:gd name="T17" fmla="*/ 641 h 1091"/>
                <a:gd name="T18" fmla="*/ 84 w 856"/>
                <a:gd name="T19" fmla="*/ 631 h 1091"/>
                <a:gd name="T20" fmla="*/ 100 w 856"/>
                <a:gd name="T21" fmla="*/ 585 h 1091"/>
                <a:gd name="T22" fmla="*/ 46 w 856"/>
                <a:gd name="T23" fmla="*/ 540 h 1091"/>
                <a:gd name="T24" fmla="*/ 39 w 856"/>
                <a:gd name="T25" fmla="*/ 512 h 1091"/>
                <a:gd name="T26" fmla="*/ 120 w 856"/>
                <a:gd name="T27" fmla="*/ 363 h 1091"/>
                <a:gd name="T28" fmla="*/ 417 w 856"/>
                <a:gd name="T29" fmla="*/ 60 h 1091"/>
                <a:gd name="T30" fmla="*/ 796 w 856"/>
                <a:gd name="T31" fmla="*/ 531 h 1091"/>
                <a:gd name="T32" fmla="*/ 413 w 856"/>
                <a:gd name="T33" fmla="*/ 27 h 1091"/>
                <a:gd name="T34" fmla="*/ 86 w 856"/>
                <a:gd name="T35" fmla="*/ 360 h 1091"/>
                <a:gd name="T36" fmla="*/ 11 w 856"/>
                <a:gd name="T37" fmla="*/ 493 h 1091"/>
                <a:gd name="T38" fmla="*/ 31 w 856"/>
                <a:gd name="T39" fmla="*/ 570 h 1091"/>
                <a:gd name="T40" fmla="*/ 67 w 856"/>
                <a:gd name="T41" fmla="*/ 592 h 1091"/>
                <a:gd name="T42" fmla="*/ 58 w 856"/>
                <a:gd name="T43" fmla="*/ 611 h 1091"/>
                <a:gd name="T44" fmla="*/ 62 w 856"/>
                <a:gd name="T45" fmla="*/ 665 h 1091"/>
                <a:gd name="T46" fmla="*/ 65 w 856"/>
                <a:gd name="T47" fmla="*/ 718 h 1091"/>
                <a:gd name="T48" fmla="*/ 80 w 856"/>
                <a:gd name="T49" fmla="*/ 764 h 1091"/>
                <a:gd name="T50" fmla="*/ 207 w 856"/>
                <a:gd name="T51" fmla="*/ 871 h 1091"/>
                <a:gd name="T52" fmla="*/ 299 w 856"/>
                <a:gd name="T53" fmla="*/ 890 h 1091"/>
                <a:gd name="T54" fmla="*/ 282 w 856"/>
                <a:gd name="T55" fmla="*/ 1084 h 1091"/>
                <a:gd name="T56" fmla="*/ 767 w 856"/>
                <a:gd name="T57" fmla="*/ 1091 h 1091"/>
                <a:gd name="T58" fmla="*/ 783 w 856"/>
                <a:gd name="T59" fmla="*/ 1070 h 1091"/>
                <a:gd name="T60" fmla="*/ 827 w 856"/>
                <a:gd name="T61" fmla="*/ 543 h 1091"/>
                <a:gd name="T62" fmla="*/ 839 w 856"/>
                <a:gd name="T63" fmla="*/ 328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6" h="1091">
                  <a:moveTo>
                    <a:pt x="796" y="531"/>
                  </a:moveTo>
                  <a:cubicBezTo>
                    <a:pt x="778" y="575"/>
                    <a:pt x="762" y="609"/>
                    <a:pt x="748" y="639"/>
                  </a:cubicBezTo>
                  <a:cubicBezTo>
                    <a:pt x="693" y="751"/>
                    <a:pt x="674" y="791"/>
                    <a:pt x="745" y="1058"/>
                  </a:cubicBezTo>
                  <a:lnTo>
                    <a:pt x="319" y="1058"/>
                  </a:lnTo>
                  <a:cubicBezTo>
                    <a:pt x="332" y="1019"/>
                    <a:pt x="352" y="937"/>
                    <a:pt x="330" y="878"/>
                  </a:cubicBezTo>
                  <a:cubicBezTo>
                    <a:pt x="320" y="852"/>
                    <a:pt x="295" y="834"/>
                    <a:pt x="266" y="833"/>
                  </a:cubicBezTo>
                  <a:cubicBezTo>
                    <a:pt x="244" y="832"/>
                    <a:pt x="222" y="834"/>
                    <a:pt x="200" y="839"/>
                  </a:cubicBezTo>
                  <a:cubicBezTo>
                    <a:pt x="184" y="842"/>
                    <a:pt x="168" y="840"/>
                    <a:pt x="153" y="833"/>
                  </a:cubicBezTo>
                  <a:cubicBezTo>
                    <a:pt x="128" y="820"/>
                    <a:pt x="112" y="794"/>
                    <a:pt x="113" y="766"/>
                  </a:cubicBezTo>
                  <a:lnTo>
                    <a:pt x="115" y="724"/>
                  </a:lnTo>
                  <a:cubicBezTo>
                    <a:pt x="115" y="719"/>
                    <a:pt x="113" y="714"/>
                    <a:pt x="109" y="711"/>
                  </a:cubicBezTo>
                  <a:lnTo>
                    <a:pt x="86" y="692"/>
                  </a:lnTo>
                  <a:cubicBezTo>
                    <a:pt x="85" y="692"/>
                    <a:pt x="85" y="691"/>
                    <a:pt x="85" y="690"/>
                  </a:cubicBezTo>
                  <a:cubicBezTo>
                    <a:pt x="85" y="689"/>
                    <a:pt x="86" y="688"/>
                    <a:pt x="86" y="688"/>
                  </a:cubicBezTo>
                  <a:lnTo>
                    <a:pt x="102" y="679"/>
                  </a:lnTo>
                  <a:cubicBezTo>
                    <a:pt x="107" y="676"/>
                    <a:pt x="111" y="670"/>
                    <a:pt x="111" y="664"/>
                  </a:cubicBezTo>
                  <a:cubicBezTo>
                    <a:pt x="111" y="658"/>
                    <a:pt x="107" y="653"/>
                    <a:pt x="102" y="650"/>
                  </a:cubicBezTo>
                  <a:lnTo>
                    <a:pt x="86" y="641"/>
                  </a:lnTo>
                  <a:cubicBezTo>
                    <a:pt x="84" y="639"/>
                    <a:pt x="83" y="637"/>
                    <a:pt x="83" y="636"/>
                  </a:cubicBezTo>
                  <a:cubicBezTo>
                    <a:pt x="82" y="635"/>
                    <a:pt x="82" y="633"/>
                    <a:pt x="84" y="631"/>
                  </a:cubicBezTo>
                  <a:lnTo>
                    <a:pt x="92" y="621"/>
                  </a:lnTo>
                  <a:cubicBezTo>
                    <a:pt x="100" y="610"/>
                    <a:pt x="103" y="597"/>
                    <a:pt x="100" y="585"/>
                  </a:cubicBezTo>
                  <a:cubicBezTo>
                    <a:pt x="97" y="572"/>
                    <a:pt x="89" y="561"/>
                    <a:pt x="77" y="555"/>
                  </a:cubicBezTo>
                  <a:lnTo>
                    <a:pt x="46" y="540"/>
                  </a:lnTo>
                  <a:cubicBezTo>
                    <a:pt x="41" y="537"/>
                    <a:pt x="38" y="533"/>
                    <a:pt x="36" y="528"/>
                  </a:cubicBezTo>
                  <a:cubicBezTo>
                    <a:pt x="35" y="522"/>
                    <a:pt x="36" y="517"/>
                    <a:pt x="39" y="512"/>
                  </a:cubicBezTo>
                  <a:lnTo>
                    <a:pt x="98" y="425"/>
                  </a:lnTo>
                  <a:cubicBezTo>
                    <a:pt x="110" y="407"/>
                    <a:pt x="118" y="385"/>
                    <a:pt x="120" y="363"/>
                  </a:cubicBezTo>
                  <a:cubicBezTo>
                    <a:pt x="121" y="342"/>
                    <a:pt x="123" y="323"/>
                    <a:pt x="129" y="306"/>
                  </a:cubicBezTo>
                  <a:cubicBezTo>
                    <a:pt x="174" y="174"/>
                    <a:pt x="287" y="78"/>
                    <a:pt x="417" y="60"/>
                  </a:cubicBezTo>
                  <a:cubicBezTo>
                    <a:pt x="609" y="35"/>
                    <a:pt x="768" y="184"/>
                    <a:pt x="806" y="336"/>
                  </a:cubicBezTo>
                  <a:cubicBezTo>
                    <a:pt x="822" y="397"/>
                    <a:pt x="818" y="465"/>
                    <a:pt x="796" y="531"/>
                  </a:cubicBezTo>
                  <a:close/>
                  <a:moveTo>
                    <a:pt x="839" y="328"/>
                  </a:moveTo>
                  <a:cubicBezTo>
                    <a:pt x="797" y="162"/>
                    <a:pt x="622" y="0"/>
                    <a:pt x="413" y="27"/>
                  </a:cubicBezTo>
                  <a:cubicBezTo>
                    <a:pt x="270" y="46"/>
                    <a:pt x="147" y="151"/>
                    <a:pt x="98" y="295"/>
                  </a:cubicBezTo>
                  <a:cubicBezTo>
                    <a:pt x="91" y="316"/>
                    <a:pt x="88" y="337"/>
                    <a:pt x="86" y="360"/>
                  </a:cubicBezTo>
                  <a:cubicBezTo>
                    <a:pt x="85" y="377"/>
                    <a:pt x="79" y="393"/>
                    <a:pt x="70" y="407"/>
                  </a:cubicBezTo>
                  <a:lnTo>
                    <a:pt x="11" y="493"/>
                  </a:lnTo>
                  <a:cubicBezTo>
                    <a:pt x="3" y="506"/>
                    <a:pt x="0" y="521"/>
                    <a:pt x="4" y="536"/>
                  </a:cubicBezTo>
                  <a:cubicBezTo>
                    <a:pt x="8" y="550"/>
                    <a:pt x="18" y="563"/>
                    <a:pt x="31" y="570"/>
                  </a:cubicBezTo>
                  <a:lnTo>
                    <a:pt x="62" y="585"/>
                  </a:lnTo>
                  <a:cubicBezTo>
                    <a:pt x="66" y="587"/>
                    <a:pt x="67" y="590"/>
                    <a:pt x="67" y="592"/>
                  </a:cubicBezTo>
                  <a:cubicBezTo>
                    <a:pt x="68" y="594"/>
                    <a:pt x="68" y="597"/>
                    <a:pt x="65" y="600"/>
                  </a:cubicBezTo>
                  <a:lnTo>
                    <a:pt x="58" y="611"/>
                  </a:lnTo>
                  <a:cubicBezTo>
                    <a:pt x="50" y="620"/>
                    <a:pt x="48" y="632"/>
                    <a:pt x="50" y="643"/>
                  </a:cubicBezTo>
                  <a:cubicBezTo>
                    <a:pt x="52" y="651"/>
                    <a:pt x="56" y="659"/>
                    <a:pt x="62" y="665"/>
                  </a:cubicBezTo>
                  <a:cubicBezTo>
                    <a:pt x="56" y="671"/>
                    <a:pt x="53" y="679"/>
                    <a:pt x="52" y="687"/>
                  </a:cubicBezTo>
                  <a:cubicBezTo>
                    <a:pt x="51" y="699"/>
                    <a:pt x="56" y="711"/>
                    <a:pt x="65" y="718"/>
                  </a:cubicBezTo>
                  <a:lnTo>
                    <a:pt x="81" y="731"/>
                  </a:lnTo>
                  <a:lnTo>
                    <a:pt x="80" y="764"/>
                  </a:lnTo>
                  <a:cubicBezTo>
                    <a:pt x="79" y="805"/>
                    <a:pt x="101" y="844"/>
                    <a:pt x="138" y="862"/>
                  </a:cubicBezTo>
                  <a:cubicBezTo>
                    <a:pt x="160" y="873"/>
                    <a:pt x="184" y="876"/>
                    <a:pt x="207" y="871"/>
                  </a:cubicBezTo>
                  <a:cubicBezTo>
                    <a:pt x="226" y="867"/>
                    <a:pt x="246" y="865"/>
                    <a:pt x="265" y="866"/>
                  </a:cubicBezTo>
                  <a:cubicBezTo>
                    <a:pt x="280" y="867"/>
                    <a:pt x="294" y="876"/>
                    <a:pt x="299" y="890"/>
                  </a:cubicBezTo>
                  <a:cubicBezTo>
                    <a:pt x="323" y="957"/>
                    <a:pt x="281" y="1067"/>
                    <a:pt x="280" y="1068"/>
                  </a:cubicBezTo>
                  <a:cubicBezTo>
                    <a:pt x="278" y="1073"/>
                    <a:pt x="279" y="1079"/>
                    <a:pt x="282" y="1084"/>
                  </a:cubicBezTo>
                  <a:cubicBezTo>
                    <a:pt x="285" y="1088"/>
                    <a:pt x="290" y="1091"/>
                    <a:pt x="296" y="1091"/>
                  </a:cubicBezTo>
                  <a:lnTo>
                    <a:pt x="767" y="1091"/>
                  </a:lnTo>
                  <a:cubicBezTo>
                    <a:pt x="772" y="1091"/>
                    <a:pt x="777" y="1089"/>
                    <a:pt x="780" y="1084"/>
                  </a:cubicBezTo>
                  <a:cubicBezTo>
                    <a:pt x="783" y="1080"/>
                    <a:pt x="784" y="1075"/>
                    <a:pt x="783" y="1070"/>
                  </a:cubicBezTo>
                  <a:cubicBezTo>
                    <a:pt x="709" y="796"/>
                    <a:pt x="725" y="763"/>
                    <a:pt x="778" y="653"/>
                  </a:cubicBezTo>
                  <a:cubicBezTo>
                    <a:pt x="792" y="623"/>
                    <a:pt x="809" y="589"/>
                    <a:pt x="827" y="543"/>
                  </a:cubicBezTo>
                  <a:cubicBezTo>
                    <a:pt x="827" y="542"/>
                    <a:pt x="827" y="542"/>
                    <a:pt x="827" y="542"/>
                  </a:cubicBezTo>
                  <a:cubicBezTo>
                    <a:pt x="852" y="469"/>
                    <a:pt x="856" y="396"/>
                    <a:pt x="839" y="32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0" name="Freeform 174">
              <a:extLst>
                <a:ext uri="{FF2B5EF4-FFF2-40B4-BE49-F238E27FC236}">
                  <a16:creationId xmlns:a16="http://schemas.microsoft.com/office/drawing/2014/main" id="{54DFEEDB-9C31-43E3-BE20-90DFCFA91698}"/>
                </a:ext>
              </a:extLst>
            </p:cNvPr>
            <p:cNvSpPr>
              <a:spLocks noEditPoints="1"/>
            </p:cNvSpPr>
            <p:nvPr/>
          </p:nvSpPr>
          <p:spPr bwMode="auto">
            <a:xfrm>
              <a:off x="663575" y="4737101"/>
              <a:ext cx="174625" cy="123825"/>
            </a:xfrm>
            <a:custGeom>
              <a:avLst/>
              <a:gdLst>
                <a:gd name="T0" fmla="*/ 48 w 292"/>
                <a:gd name="T1" fmla="*/ 176 h 209"/>
                <a:gd name="T2" fmla="*/ 33 w 292"/>
                <a:gd name="T3" fmla="*/ 161 h 209"/>
                <a:gd name="T4" fmla="*/ 48 w 292"/>
                <a:gd name="T5" fmla="*/ 146 h 209"/>
                <a:gd name="T6" fmla="*/ 62 w 292"/>
                <a:gd name="T7" fmla="*/ 161 h 209"/>
                <a:gd name="T8" fmla="*/ 48 w 292"/>
                <a:gd name="T9" fmla="*/ 176 h 209"/>
                <a:gd name="T10" fmla="*/ 264 w 292"/>
                <a:gd name="T11" fmla="*/ 4 h 209"/>
                <a:gd name="T12" fmla="*/ 77 w 292"/>
                <a:gd name="T13" fmla="*/ 123 h 209"/>
                <a:gd name="T14" fmla="*/ 48 w 292"/>
                <a:gd name="T15" fmla="*/ 113 h 209"/>
                <a:gd name="T16" fmla="*/ 0 w 292"/>
                <a:gd name="T17" fmla="*/ 161 h 209"/>
                <a:gd name="T18" fmla="*/ 48 w 292"/>
                <a:gd name="T19" fmla="*/ 209 h 209"/>
                <a:gd name="T20" fmla="*/ 96 w 292"/>
                <a:gd name="T21" fmla="*/ 161 h 209"/>
                <a:gd name="T22" fmla="*/ 95 w 292"/>
                <a:gd name="T23" fmla="*/ 151 h 209"/>
                <a:gd name="T24" fmla="*/ 282 w 292"/>
                <a:gd name="T25" fmla="*/ 33 h 209"/>
                <a:gd name="T26" fmla="*/ 287 w 292"/>
                <a:gd name="T27" fmla="*/ 10 h 209"/>
                <a:gd name="T28" fmla="*/ 264 w 292"/>
                <a:gd name="T29"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209">
                  <a:moveTo>
                    <a:pt x="48" y="176"/>
                  </a:moveTo>
                  <a:cubicBezTo>
                    <a:pt x="40" y="176"/>
                    <a:pt x="33" y="169"/>
                    <a:pt x="33" y="161"/>
                  </a:cubicBezTo>
                  <a:cubicBezTo>
                    <a:pt x="33" y="153"/>
                    <a:pt x="40" y="146"/>
                    <a:pt x="48" y="146"/>
                  </a:cubicBezTo>
                  <a:cubicBezTo>
                    <a:pt x="56" y="146"/>
                    <a:pt x="62" y="153"/>
                    <a:pt x="62" y="161"/>
                  </a:cubicBezTo>
                  <a:cubicBezTo>
                    <a:pt x="62" y="169"/>
                    <a:pt x="56" y="176"/>
                    <a:pt x="48" y="176"/>
                  </a:cubicBezTo>
                  <a:close/>
                  <a:moveTo>
                    <a:pt x="264" y="4"/>
                  </a:moveTo>
                  <a:lnTo>
                    <a:pt x="77" y="123"/>
                  </a:lnTo>
                  <a:cubicBezTo>
                    <a:pt x="69" y="117"/>
                    <a:pt x="59" y="113"/>
                    <a:pt x="48" y="113"/>
                  </a:cubicBezTo>
                  <a:cubicBezTo>
                    <a:pt x="21" y="113"/>
                    <a:pt x="0" y="135"/>
                    <a:pt x="0" y="161"/>
                  </a:cubicBezTo>
                  <a:cubicBezTo>
                    <a:pt x="0" y="188"/>
                    <a:pt x="21" y="209"/>
                    <a:pt x="48" y="209"/>
                  </a:cubicBezTo>
                  <a:cubicBezTo>
                    <a:pt x="74" y="209"/>
                    <a:pt x="96" y="188"/>
                    <a:pt x="96" y="161"/>
                  </a:cubicBezTo>
                  <a:cubicBezTo>
                    <a:pt x="96" y="158"/>
                    <a:pt x="95" y="154"/>
                    <a:pt x="95" y="151"/>
                  </a:cubicBezTo>
                  <a:lnTo>
                    <a:pt x="282" y="33"/>
                  </a:lnTo>
                  <a:cubicBezTo>
                    <a:pt x="290" y="28"/>
                    <a:pt x="292" y="17"/>
                    <a:pt x="287" y="10"/>
                  </a:cubicBezTo>
                  <a:cubicBezTo>
                    <a:pt x="282" y="2"/>
                    <a:pt x="272" y="0"/>
                    <a:pt x="264" y="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1" name="Freeform 175">
              <a:extLst>
                <a:ext uri="{FF2B5EF4-FFF2-40B4-BE49-F238E27FC236}">
                  <a16:creationId xmlns:a16="http://schemas.microsoft.com/office/drawing/2014/main" id="{A9B205E1-813A-4DCC-86F4-BA223D4B445B}"/>
                </a:ext>
              </a:extLst>
            </p:cNvPr>
            <p:cNvSpPr>
              <a:spLocks/>
            </p:cNvSpPr>
            <p:nvPr/>
          </p:nvSpPr>
          <p:spPr bwMode="auto">
            <a:xfrm>
              <a:off x="523875" y="4664076"/>
              <a:ext cx="292100" cy="179388"/>
            </a:xfrm>
            <a:custGeom>
              <a:avLst/>
              <a:gdLst>
                <a:gd name="T0" fmla="*/ 460 w 491"/>
                <a:gd name="T1" fmla="*/ 106 h 300"/>
                <a:gd name="T2" fmla="*/ 484 w 491"/>
                <a:gd name="T3" fmla="*/ 106 h 300"/>
                <a:gd name="T4" fmla="*/ 484 w 491"/>
                <a:gd name="T5" fmla="*/ 83 h 300"/>
                <a:gd name="T6" fmla="*/ 284 w 491"/>
                <a:gd name="T7" fmla="*/ 0 h 300"/>
                <a:gd name="T8" fmla="*/ 0 w 491"/>
                <a:gd name="T9" fmla="*/ 283 h 300"/>
                <a:gd name="T10" fmla="*/ 17 w 491"/>
                <a:gd name="T11" fmla="*/ 300 h 300"/>
                <a:gd name="T12" fmla="*/ 34 w 491"/>
                <a:gd name="T13" fmla="*/ 283 h 300"/>
                <a:gd name="T14" fmla="*/ 284 w 491"/>
                <a:gd name="T15" fmla="*/ 33 h 300"/>
                <a:gd name="T16" fmla="*/ 460 w 491"/>
                <a:gd name="T17" fmla="*/ 1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300">
                  <a:moveTo>
                    <a:pt x="460" y="106"/>
                  </a:moveTo>
                  <a:cubicBezTo>
                    <a:pt x="467" y="113"/>
                    <a:pt x="478" y="113"/>
                    <a:pt x="484" y="106"/>
                  </a:cubicBezTo>
                  <a:cubicBezTo>
                    <a:pt x="491" y="100"/>
                    <a:pt x="491" y="89"/>
                    <a:pt x="484" y="83"/>
                  </a:cubicBezTo>
                  <a:cubicBezTo>
                    <a:pt x="431" y="29"/>
                    <a:pt x="359" y="0"/>
                    <a:pt x="284" y="0"/>
                  </a:cubicBezTo>
                  <a:cubicBezTo>
                    <a:pt x="127" y="0"/>
                    <a:pt x="0" y="127"/>
                    <a:pt x="0" y="283"/>
                  </a:cubicBezTo>
                  <a:cubicBezTo>
                    <a:pt x="0" y="292"/>
                    <a:pt x="8" y="300"/>
                    <a:pt x="17" y="300"/>
                  </a:cubicBezTo>
                  <a:cubicBezTo>
                    <a:pt x="26" y="300"/>
                    <a:pt x="34" y="292"/>
                    <a:pt x="34" y="283"/>
                  </a:cubicBezTo>
                  <a:cubicBezTo>
                    <a:pt x="34" y="145"/>
                    <a:pt x="146" y="33"/>
                    <a:pt x="284" y="33"/>
                  </a:cubicBezTo>
                  <a:cubicBezTo>
                    <a:pt x="351" y="33"/>
                    <a:pt x="413" y="59"/>
                    <a:pt x="460" y="10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51" name="Rectangle 111"/>
          <p:cNvSpPr/>
          <p:nvPr/>
        </p:nvSpPr>
        <p:spPr>
          <a:xfrm>
            <a:off x="677432" y="2600866"/>
            <a:ext cx="5239952" cy="213553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ltLang="ja-JP" dirty="0">
              <a:solidFill>
                <a:srgbClr val="DDDDDD">
                  <a:lumMod val="10000"/>
                </a:srgbClr>
              </a:solidFill>
            </a:endParaRPr>
          </a:p>
          <a:p>
            <a:endParaRPr lang="en-US" altLang="ja-JP" dirty="0">
              <a:solidFill>
                <a:srgbClr val="DDDDDD">
                  <a:lumMod val="10000"/>
                </a:srgbClr>
              </a:solidFill>
            </a:endParaRPr>
          </a:p>
          <a:p>
            <a:r>
              <a:rPr lang="ja-JP" altLang="en-US" sz="1600" dirty="0">
                <a:solidFill>
                  <a:srgbClr val="DDDDDD">
                    <a:lumMod val="10000"/>
                  </a:srgbClr>
                </a:solidFill>
              </a:rPr>
              <a:t>           </a:t>
            </a:r>
            <a:r>
              <a:rPr lang="ja-JP" altLang="es-ES" sz="1600" dirty="0">
                <a:solidFill>
                  <a:srgbClr val="DDDDDD">
                    <a:lumMod val="10000"/>
                  </a:srgbClr>
                </a:solidFill>
              </a:rPr>
              <a:t>社内業務プロセスのアセスメント後、</a:t>
            </a:r>
            <a:endParaRPr lang="es-ES" altLang="ja-JP" sz="1600" dirty="0">
              <a:solidFill>
                <a:srgbClr val="DDDDDD">
                  <a:lumMod val="10000"/>
                </a:srgbClr>
              </a:solidFill>
            </a:endParaRPr>
          </a:p>
          <a:p>
            <a:r>
              <a:rPr lang="ja-JP" altLang="es-ES" sz="1600" dirty="0">
                <a:solidFill>
                  <a:srgbClr val="DDDDDD">
                    <a:lumMod val="10000"/>
                  </a:srgbClr>
                </a:solidFill>
              </a:rPr>
              <a:t>　　　効果的な業務を優先順位付けし自動化。</a:t>
            </a:r>
            <a:endParaRPr lang="es-ES" altLang="ja-JP" sz="1600" dirty="0">
              <a:solidFill>
                <a:srgbClr val="DDDDDD">
                  <a:lumMod val="10000"/>
                </a:srgbClr>
              </a:solidFill>
            </a:endParaRPr>
          </a:p>
          <a:p>
            <a:r>
              <a:rPr lang="es-ES" altLang="ja-JP" sz="1600" dirty="0">
                <a:solidFill>
                  <a:srgbClr val="DDDDDD">
                    <a:lumMod val="10000"/>
                  </a:srgbClr>
                </a:solidFill>
              </a:rPr>
              <a:t>     </a:t>
            </a:r>
          </a:p>
          <a:p>
            <a:r>
              <a:rPr lang="es-ES" altLang="ja-JP" sz="1600" dirty="0">
                <a:solidFill>
                  <a:srgbClr val="DDDDDD">
                    <a:lumMod val="10000"/>
                  </a:srgbClr>
                </a:solidFill>
              </a:rPr>
              <a:t>           50</a:t>
            </a:r>
            <a:r>
              <a:rPr lang="ja-JP" altLang="es-ES" sz="1600" dirty="0">
                <a:solidFill>
                  <a:srgbClr val="DDDDDD">
                    <a:lumMod val="10000"/>
                  </a:srgbClr>
                </a:solidFill>
              </a:rPr>
              <a:t>以上の業務フロー標準化（定義）から、</a:t>
            </a:r>
            <a:endParaRPr lang="es-ES" altLang="ja-JP" sz="1600" dirty="0">
              <a:solidFill>
                <a:srgbClr val="DDDDDD">
                  <a:lumMod val="10000"/>
                </a:srgbClr>
              </a:solidFill>
            </a:endParaRPr>
          </a:p>
          <a:p>
            <a:r>
              <a:rPr lang="ja-JP" altLang="es-ES" sz="1600" dirty="0">
                <a:solidFill>
                  <a:srgbClr val="DDDDDD">
                    <a:lumMod val="10000"/>
                  </a:srgbClr>
                </a:solidFill>
              </a:rPr>
              <a:t>　　　ロボット構築、テスト、導入、</a:t>
            </a:r>
            <a:endParaRPr lang="es-ES" altLang="ja-JP" sz="1600" dirty="0">
              <a:solidFill>
                <a:srgbClr val="DDDDDD">
                  <a:lumMod val="10000"/>
                </a:srgbClr>
              </a:solidFill>
            </a:endParaRPr>
          </a:p>
          <a:p>
            <a:r>
              <a:rPr lang="ja-JP" altLang="es-ES" sz="1600" dirty="0">
                <a:solidFill>
                  <a:srgbClr val="DDDDDD">
                    <a:lumMod val="10000"/>
                  </a:srgbClr>
                </a:solidFill>
              </a:rPr>
              <a:t>　　　アフターケアまでを</a:t>
            </a:r>
            <a:r>
              <a:rPr lang="es-ES" altLang="ja-JP" sz="1600" dirty="0">
                <a:solidFill>
                  <a:srgbClr val="DDDDDD">
                    <a:lumMod val="10000"/>
                  </a:srgbClr>
                </a:solidFill>
              </a:rPr>
              <a:t>12</a:t>
            </a:r>
            <a:r>
              <a:rPr lang="ja-JP" altLang="es-ES" sz="1600" dirty="0">
                <a:solidFill>
                  <a:srgbClr val="DDDDDD">
                    <a:lumMod val="10000"/>
                  </a:srgbClr>
                </a:solidFill>
              </a:rPr>
              <a:t>ヶ月で実施。</a:t>
            </a:r>
            <a:endParaRPr lang="es-ES" altLang="ja-JP" sz="1600" dirty="0">
              <a:solidFill>
                <a:srgbClr val="DDDDDD">
                  <a:lumMod val="10000"/>
                </a:srgbClr>
              </a:solidFill>
            </a:endParaRPr>
          </a:p>
          <a:p>
            <a:endParaRPr kumimoji="1" lang="en-US" altLang="ja-JP" dirty="0">
              <a:solidFill>
                <a:srgbClr val="DDDDDD">
                  <a:lumMod val="10000"/>
                </a:srgbClr>
              </a:solidFill>
            </a:endParaRPr>
          </a:p>
        </p:txBody>
      </p:sp>
      <p:grpSp>
        <p:nvGrpSpPr>
          <p:cNvPr id="52" name="Group 14">
            <a:extLst>
              <a:ext uri="{FF2B5EF4-FFF2-40B4-BE49-F238E27FC236}">
                <a16:creationId xmlns:a16="http://schemas.microsoft.com/office/drawing/2014/main" id="{1C37A94A-2FB5-48D0-A786-B43F2FD416E0}"/>
              </a:ext>
            </a:extLst>
          </p:cNvPr>
          <p:cNvGrpSpPr/>
          <p:nvPr/>
        </p:nvGrpSpPr>
        <p:grpSpPr>
          <a:xfrm>
            <a:off x="740449" y="2636532"/>
            <a:ext cx="552985" cy="552985"/>
            <a:chOff x="761861" y="3510594"/>
            <a:chExt cx="552985" cy="552985"/>
          </a:xfrm>
        </p:grpSpPr>
        <p:sp>
          <p:nvSpPr>
            <p:cNvPr id="53"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54"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55" name="Identification">
              <a:extLst>
                <a:ext uri="{FF2B5EF4-FFF2-40B4-BE49-F238E27FC236}">
                  <a16:creationId xmlns:a16="http://schemas.microsoft.com/office/drawing/2014/main" id="{985152F4-D0AD-4849-84AF-E45ED4C87A0A}"/>
                </a:ext>
              </a:extLst>
            </p:cNvPr>
            <p:cNvSpPr>
              <a:spLocks/>
            </p:cNvSpPr>
            <p:nvPr>
              <p:custDataLst>
                <p:tags r:id="rId3"/>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42" name="Climbing2" descr="{&quot;Key&quot;:&quot;POWER_USER_SHAPE_ICON&quot;,&quot;Value&quot;:&quot;POWER_USER_SHAPE_ICON_STYLE_1&quot;}">
            <a:extLst>
              <a:ext uri="{FF2B5EF4-FFF2-40B4-BE49-F238E27FC236}">
                <a16:creationId xmlns:a16="http://schemas.microsoft.com/office/drawing/2014/main" id="{228A1D72-A9A9-445D-B6CC-F6B0A41A709F}"/>
              </a:ext>
            </a:extLst>
          </p:cNvPr>
          <p:cNvGrpSpPr>
            <a:grpSpLocks noChangeAspect="1"/>
          </p:cNvGrpSpPr>
          <p:nvPr>
            <p:custDataLst>
              <p:tags r:id="rId1"/>
            </p:custDataLst>
          </p:nvPr>
        </p:nvGrpSpPr>
        <p:grpSpPr>
          <a:xfrm>
            <a:off x="821175" y="2659456"/>
            <a:ext cx="409810" cy="504650"/>
            <a:chOff x="5856288" y="-142875"/>
            <a:chExt cx="1303337" cy="1604963"/>
          </a:xfrm>
          <a:noFill/>
        </p:grpSpPr>
        <p:sp>
          <p:nvSpPr>
            <p:cNvPr id="43" name="Freeform 342">
              <a:extLst>
                <a:ext uri="{FF2B5EF4-FFF2-40B4-BE49-F238E27FC236}">
                  <a16:creationId xmlns:a16="http://schemas.microsoft.com/office/drawing/2014/main" id="{215C6E88-CEB4-49D9-85FF-04FCE3F2A456}"/>
                </a:ext>
              </a:extLst>
            </p:cNvPr>
            <p:cNvSpPr>
              <a:spLocks/>
            </p:cNvSpPr>
            <p:nvPr/>
          </p:nvSpPr>
          <p:spPr bwMode="auto">
            <a:xfrm>
              <a:off x="6743700" y="550863"/>
              <a:ext cx="415925" cy="331788"/>
            </a:xfrm>
            <a:custGeom>
              <a:avLst/>
              <a:gdLst>
                <a:gd name="T0" fmla="*/ 89 w 547"/>
                <a:gd name="T1" fmla="*/ 401 h 435"/>
                <a:gd name="T2" fmla="*/ 0 w 547"/>
                <a:gd name="T3" fmla="*/ 230 h 435"/>
                <a:gd name="T4" fmla="*/ 224 w 547"/>
                <a:gd name="T5" fmla="*/ 251 h 435"/>
                <a:gd name="T6" fmla="*/ 333 w 547"/>
                <a:gd name="T7" fmla="*/ 195 h 435"/>
                <a:gd name="T8" fmla="*/ 446 w 547"/>
                <a:gd name="T9" fmla="*/ 0 h 435"/>
                <a:gd name="T10" fmla="*/ 534 w 547"/>
                <a:gd name="T11" fmla="*/ 170 h 435"/>
                <a:gd name="T12" fmla="*/ 513 w 547"/>
                <a:gd name="T13" fmla="*/ 238 h 435"/>
                <a:gd name="T14" fmla="*/ 156 w 547"/>
                <a:gd name="T15" fmla="*/ 422 h 435"/>
                <a:gd name="T16" fmla="*/ 89 w 547"/>
                <a:gd name="T17" fmla="*/ 4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435">
                  <a:moveTo>
                    <a:pt x="89" y="401"/>
                  </a:moveTo>
                  <a:cubicBezTo>
                    <a:pt x="67" y="358"/>
                    <a:pt x="33" y="294"/>
                    <a:pt x="0" y="230"/>
                  </a:cubicBezTo>
                  <a:cubicBezTo>
                    <a:pt x="86" y="238"/>
                    <a:pt x="165" y="246"/>
                    <a:pt x="224" y="251"/>
                  </a:cubicBezTo>
                  <a:cubicBezTo>
                    <a:pt x="264" y="255"/>
                    <a:pt x="313" y="229"/>
                    <a:pt x="333" y="195"/>
                  </a:cubicBezTo>
                  <a:cubicBezTo>
                    <a:pt x="363" y="143"/>
                    <a:pt x="403" y="74"/>
                    <a:pt x="446" y="0"/>
                  </a:cubicBezTo>
                  <a:cubicBezTo>
                    <a:pt x="479" y="64"/>
                    <a:pt x="512" y="128"/>
                    <a:pt x="534" y="170"/>
                  </a:cubicBezTo>
                  <a:cubicBezTo>
                    <a:pt x="547" y="195"/>
                    <a:pt x="537" y="225"/>
                    <a:pt x="513" y="238"/>
                  </a:cubicBezTo>
                  <a:cubicBezTo>
                    <a:pt x="430" y="280"/>
                    <a:pt x="239" y="379"/>
                    <a:pt x="156" y="422"/>
                  </a:cubicBezTo>
                  <a:cubicBezTo>
                    <a:pt x="131" y="435"/>
                    <a:pt x="101" y="425"/>
                    <a:pt x="89" y="401"/>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4" name="Freeform 343">
              <a:extLst>
                <a:ext uri="{FF2B5EF4-FFF2-40B4-BE49-F238E27FC236}">
                  <a16:creationId xmlns:a16="http://schemas.microsoft.com/office/drawing/2014/main" id="{F70D456F-3EE2-48DD-A0BE-79A5782B576D}"/>
                </a:ext>
              </a:extLst>
            </p:cNvPr>
            <p:cNvSpPr>
              <a:spLocks noEditPoints="1"/>
            </p:cNvSpPr>
            <p:nvPr/>
          </p:nvSpPr>
          <p:spPr bwMode="auto">
            <a:xfrm>
              <a:off x="6702425" y="471488"/>
              <a:ext cx="374650" cy="249238"/>
            </a:xfrm>
            <a:custGeom>
              <a:avLst/>
              <a:gdLst>
                <a:gd name="T0" fmla="*/ 163 w 491"/>
                <a:gd name="T1" fmla="*/ 142 h 327"/>
                <a:gd name="T2" fmla="*/ 204 w 491"/>
                <a:gd name="T3" fmla="*/ 79 h 327"/>
                <a:gd name="T4" fmla="*/ 280 w 491"/>
                <a:gd name="T5" fmla="*/ 82 h 327"/>
                <a:gd name="T6" fmla="*/ 163 w 491"/>
                <a:gd name="T7" fmla="*/ 142 h 327"/>
                <a:gd name="T8" fmla="*/ 12 w 491"/>
                <a:gd name="T9" fmla="*/ 278 h 327"/>
                <a:gd name="T10" fmla="*/ 25 w 491"/>
                <a:gd name="T11" fmla="*/ 303 h 327"/>
                <a:gd name="T12" fmla="*/ 271 w 491"/>
                <a:gd name="T13" fmla="*/ 326 h 327"/>
                <a:gd name="T14" fmla="*/ 325 w 491"/>
                <a:gd name="T15" fmla="*/ 314 h 327"/>
                <a:gd name="T16" fmla="*/ 367 w 491"/>
                <a:gd name="T17" fmla="*/ 276 h 327"/>
                <a:gd name="T18" fmla="*/ 491 w 491"/>
                <a:gd name="T19" fmla="*/ 62 h 327"/>
                <a:gd name="T20" fmla="*/ 478 w 491"/>
                <a:gd name="T21" fmla="*/ 37 h 327"/>
                <a:gd name="T22" fmla="*/ 409 w 491"/>
                <a:gd name="T23" fmla="*/ 15 h 327"/>
                <a:gd name="T24" fmla="*/ 323 w 491"/>
                <a:gd name="T25" fmla="*/ 59 h 327"/>
                <a:gd name="T26" fmla="*/ 308 w 491"/>
                <a:gd name="T27" fmla="*/ 53 h 327"/>
                <a:gd name="T28" fmla="*/ 186 w 491"/>
                <a:gd name="T29" fmla="*/ 43 h 327"/>
                <a:gd name="T30" fmla="*/ 123 w 491"/>
                <a:gd name="T31" fmla="*/ 148 h 327"/>
                <a:gd name="T32" fmla="*/ 119 w 491"/>
                <a:gd name="T33" fmla="*/ 165 h 327"/>
                <a:gd name="T34" fmla="*/ 33 w 491"/>
                <a:gd name="T35" fmla="*/ 209 h 327"/>
                <a:gd name="T36" fmla="*/ 12 w 491"/>
                <a:gd name="T37" fmla="*/ 27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1" h="327">
                  <a:moveTo>
                    <a:pt x="163" y="142"/>
                  </a:moveTo>
                  <a:cubicBezTo>
                    <a:pt x="164" y="120"/>
                    <a:pt x="169" y="97"/>
                    <a:pt x="204" y="79"/>
                  </a:cubicBezTo>
                  <a:cubicBezTo>
                    <a:pt x="240" y="60"/>
                    <a:pt x="261" y="70"/>
                    <a:pt x="280" y="82"/>
                  </a:cubicBezTo>
                  <a:cubicBezTo>
                    <a:pt x="242" y="101"/>
                    <a:pt x="201" y="122"/>
                    <a:pt x="163" y="142"/>
                  </a:cubicBezTo>
                  <a:close/>
                  <a:moveTo>
                    <a:pt x="12" y="278"/>
                  </a:moveTo>
                  <a:cubicBezTo>
                    <a:pt x="17" y="288"/>
                    <a:pt x="25" y="303"/>
                    <a:pt x="25" y="303"/>
                  </a:cubicBezTo>
                  <a:lnTo>
                    <a:pt x="271" y="326"/>
                  </a:lnTo>
                  <a:cubicBezTo>
                    <a:pt x="288" y="327"/>
                    <a:pt x="307" y="323"/>
                    <a:pt x="325" y="314"/>
                  </a:cubicBezTo>
                  <a:cubicBezTo>
                    <a:pt x="343" y="304"/>
                    <a:pt x="359" y="291"/>
                    <a:pt x="367" y="276"/>
                  </a:cubicBezTo>
                  <a:lnTo>
                    <a:pt x="491" y="62"/>
                  </a:lnTo>
                  <a:cubicBezTo>
                    <a:pt x="491" y="62"/>
                    <a:pt x="483" y="47"/>
                    <a:pt x="478" y="37"/>
                  </a:cubicBezTo>
                  <a:cubicBezTo>
                    <a:pt x="466" y="15"/>
                    <a:pt x="438" y="0"/>
                    <a:pt x="409" y="15"/>
                  </a:cubicBezTo>
                  <a:cubicBezTo>
                    <a:pt x="397" y="21"/>
                    <a:pt x="354" y="43"/>
                    <a:pt x="323" y="59"/>
                  </a:cubicBezTo>
                  <a:cubicBezTo>
                    <a:pt x="319" y="61"/>
                    <a:pt x="312" y="55"/>
                    <a:pt x="308" y="53"/>
                  </a:cubicBezTo>
                  <a:cubicBezTo>
                    <a:pt x="286" y="38"/>
                    <a:pt x="246" y="12"/>
                    <a:pt x="186" y="43"/>
                  </a:cubicBezTo>
                  <a:cubicBezTo>
                    <a:pt x="125" y="75"/>
                    <a:pt x="124" y="123"/>
                    <a:pt x="123" y="148"/>
                  </a:cubicBezTo>
                  <a:cubicBezTo>
                    <a:pt x="122" y="153"/>
                    <a:pt x="123" y="163"/>
                    <a:pt x="119" y="165"/>
                  </a:cubicBezTo>
                  <a:cubicBezTo>
                    <a:pt x="81" y="184"/>
                    <a:pt x="45" y="203"/>
                    <a:pt x="33" y="209"/>
                  </a:cubicBezTo>
                  <a:cubicBezTo>
                    <a:pt x="5" y="224"/>
                    <a:pt x="0" y="256"/>
                    <a:pt x="12" y="278"/>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5" name="Freeform 344">
              <a:extLst>
                <a:ext uri="{FF2B5EF4-FFF2-40B4-BE49-F238E27FC236}">
                  <a16:creationId xmlns:a16="http://schemas.microsoft.com/office/drawing/2014/main" id="{AB850D52-7610-4541-8690-94ED94618155}"/>
                </a:ext>
              </a:extLst>
            </p:cNvPr>
            <p:cNvSpPr>
              <a:spLocks noEditPoints="1"/>
            </p:cNvSpPr>
            <p:nvPr/>
          </p:nvSpPr>
          <p:spPr bwMode="auto">
            <a:xfrm>
              <a:off x="6015038" y="138113"/>
              <a:ext cx="846138" cy="1042988"/>
            </a:xfrm>
            <a:custGeom>
              <a:avLst/>
              <a:gdLst>
                <a:gd name="T0" fmla="*/ 491 w 1111"/>
                <a:gd name="T1" fmla="*/ 131 h 1370"/>
                <a:gd name="T2" fmla="*/ 504 w 1111"/>
                <a:gd name="T3" fmla="*/ 92 h 1370"/>
                <a:gd name="T4" fmla="*/ 525 w 1111"/>
                <a:gd name="T5" fmla="*/ 80 h 1370"/>
                <a:gd name="T6" fmla="*/ 550 w 1111"/>
                <a:gd name="T7" fmla="*/ 83 h 1370"/>
                <a:gd name="T8" fmla="*/ 577 w 1111"/>
                <a:gd name="T9" fmla="*/ 113 h 1370"/>
                <a:gd name="T10" fmla="*/ 576 w 1111"/>
                <a:gd name="T11" fmla="*/ 140 h 1370"/>
                <a:gd name="T12" fmla="*/ 565 w 1111"/>
                <a:gd name="T13" fmla="*/ 182 h 1370"/>
                <a:gd name="T14" fmla="*/ 673 w 1111"/>
                <a:gd name="T15" fmla="*/ 415 h 1370"/>
                <a:gd name="T16" fmla="*/ 617 w 1111"/>
                <a:gd name="T17" fmla="*/ 515 h 1370"/>
                <a:gd name="T18" fmla="*/ 525 w 1111"/>
                <a:gd name="T19" fmla="*/ 446 h 1370"/>
                <a:gd name="T20" fmla="*/ 531 w 1111"/>
                <a:gd name="T21" fmla="*/ 190 h 1370"/>
                <a:gd name="T22" fmla="*/ 503 w 1111"/>
                <a:gd name="T23" fmla="*/ 155 h 1370"/>
                <a:gd name="T24" fmla="*/ 491 w 1111"/>
                <a:gd name="T25" fmla="*/ 131 h 1370"/>
                <a:gd name="T26" fmla="*/ 374 w 1111"/>
                <a:gd name="T27" fmla="*/ 302 h 1370"/>
                <a:gd name="T28" fmla="*/ 442 w 1111"/>
                <a:gd name="T29" fmla="*/ 621 h 1370"/>
                <a:gd name="T30" fmla="*/ 303 w 1111"/>
                <a:gd name="T31" fmla="*/ 656 h 1370"/>
                <a:gd name="T32" fmla="*/ 266 w 1111"/>
                <a:gd name="T33" fmla="*/ 764 h 1370"/>
                <a:gd name="T34" fmla="*/ 357 w 1111"/>
                <a:gd name="T35" fmla="*/ 1000 h 1370"/>
                <a:gd name="T36" fmla="*/ 305 w 1111"/>
                <a:gd name="T37" fmla="*/ 1023 h 1370"/>
                <a:gd name="T38" fmla="*/ 315 w 1111"/>
                <a:gd name="T39" fmla="*/ 1080 h 1370"/>
                <a:gd name="T40" fmla="*/ 458 w 1111"/>
                <a:gd name="T41" fmla="*/ 1080 h 1370"/>
                <a:gd name="T42" fmla="*/ 495 w 1111"/>
                <a:gd name="T43" fmla="*/ 1020 h 1370"/>
                <a:gd name="T44" fmla="*/ 442 w 1111"/>
                <a:gd name="T45" fmla="*/ 800 h 1370"/>
                <a:gd name="T46" fmla="*/ 674 w 1111"/>
                <a:gd name="T47" fmla="*/ 787 h 1370"/>
                <a:gd name="T48" fmla="*/ 788 w 1111"/>
                <a:gd name="T49" fmla="*/ 1283 h 1370"/>
                <a:gd name="T50" fmla="*/ 739 w 1111"/>
                <a:gd name="T51" fmla="*/ 1311 h 1370"/>
                <a:gd name="T52" fmla="*/ 751 w 1111"/>
                <a:gd name="T53" fmla="*/ 1370 h 1370"/>
                <a:gd name="T54" fmla="*/ 894 w 1111"/>
                <a:gd name="T55" fmla="*/ 1370 h 1370"/>
                <a:gd name="T56" fmla="*/ 930 w 1111"/>
                <a:gd name="T57" fmla="*/ 1314 h 1370"/>
                <a:gd name="T58" fmla="*/ 753 w 1111"/>
                <a:gd name="T59" fmla="*/ 222 h 1370"/>
                <a:gd name="T60" fmla="*/ 903 w 1111"/>
                <a:gd name="T61" fmla="*/ 286 h 1370"/>
                <a:gd name="T62" fmla="*/ 992 w 1111"/>
                <a:gd name="T63" fmla="*/ 436 h 1370"/>
                <a:gd name="T64" fmla="*/ 1046 w 1111"/>
                <a:gd name="T65" fmla="*/ 458 h 1370"/>
                <a:gd name="T66" fmla="*/ 1093 w 1111"/>
                <a:gd name="T67" fmla="*/ 433 h 1370"/>
                <a:gd name="T68" fmla="*/ 1094 w 1111"/>
                <a:gd name="T69" fmla="*/ 371 h 1370"/>
                <a:gd name="T70" fmla="*/ 1027 w 1111"/>
                <a:gd name="T71" fmla="*/ 236 h 1370"/>
                <a:gd name="T72" fmla="*/ 941 w 1111"/>
                <a:gd name="T73" fmla="*/ 142 h 1370"/>
                <a:gd name="T74" fmla="*/ 793 w 1111"/>
                <a:gd name="T75" fmla="*/ 48 h 1370"/>
                <a:gd name="T76" fmla="*/ 669 w 1111"/>
                <a:gd name="T77" fmla="*/ 9 h 1370"/>
                <a:gd name="T78" fmla="*/ 517 w 1111"/>
                <a:gd name="T79" fmla="*/ 40 h 1370"/>
                <a:gd name="T80" fmla="*/ 365 w 1111"/>
                <a:gd name="T81" fmla="*/ 72 h 1370"/>
                <a:gd name="T82" fmla="*/ 259 w 1111"/>
                <a:gd name="T83" fmla="*/ 175 h 1370"/>
                <a:gd name="T84" fmla="*/ 204 w 1111"/>
                <a:gd name="T85" fmla="*/ 272 h 1370"/>
                <a:gd name="T86" fmla="*/ 117 w 1111"/>
                <a:gd name="T87" fmla="*/ 177 h 1370"/>
                <a:gd name="T88" fmla="*/ 59 w 1111"/>
                <a:gd name="T89" fmla="*/ 154 h 1370"/>
                <a:gd name="T90" fmla="*/ 18 w 1111"/>
                <a:gd name="T91" fmla="*/ 189 h 1370"/>
                <a:gd name="T92" fmla="*/ 19 w 1111"/>
                <a:gd name="T93" fmla="*/ 247 h 1370"/>
                <a:gd name="T94" fmla="*/ 158 w 1111"/>
                <a:gd name="T95" fmla="*/ 420 h 1370"/>
                <a:gd name="T96" fmla="*/ 286 w 1111"/>
                <a:gd name="T97" fmla="*/ 414 h 1370"/>
                <a:gd name="T98" fmla="*/ 374 w 1111"/>
                <a:gd name="T99" fmla="*/ 30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370">
                  <a:moveTo>
                    <a:pt x="491" y="131"/>
                  </a:moveTo>
                  <a:cubicBezTo>
                    <a:pt x="495" y="121"/>
                    <a:pt x="499" y="107"/>
                    <a:pt x="504" y="92"/>
                  </a:cubicBezTo>
                  <a:cubicBezTo>
                    <a:pt x="506" y="86"/>
                    <a:pt x="515" y="82"/>
                    <a:pt x="525" y="80"/>
                  </a:cubicBezTo>
                  <a:cubicBezTo>
                    <a:pt x="536" y="78"/>
                    <a:pt x="545" y="78"/>
                    <a:pt x="550" y="83"/>
                  </a:cubicBezTo>
                  <a:cubicBezTo>
                    <a:pt x="561" y="94"/>
                    <a:pt x="570" y="105"/>
                    <a:pt x="577" y="113"/>
                  </a:cubicBezTo>
                  <a:cubicBezTo>
                    <a:pt x="586" y="123"/>
                    <a:pt x="583" y="131"/>
                    <a:pt x="576" y="140"/>
                  </a:cubicBezTo>
                  <a:cubicBezTo>
                    <a:pt x="563" y="157"/>
                    <a:pt x="557" y="165"/>
                    <a:pt x="565" y="182"/>
                  </a:cubicBezTo>
                  <a:cubicBezTo>
                    <a:pt x="578" y="214"/>
                    <a:pt x="662" y="390"/>
                    <a:pt x="673" y="415"/>
                  </a:cubicBezTo>
                  <a:cubicBezTo>
                    <a:pt x="666" y="440"/>
                    <a:pt x="628" y="512"/>
                    <a:pt x="617" y="515"/>
                  </a:cubicBezTo>
                  <a:cubicBezTo>
                    <a:pt x="605" y="517"/>
                    <a:pt x="542" y="466"/>
                    <a:pt x="525" y="446"/>
                  </a:cubicBezTo>
                  <a:cubicBezTo>
                    <a:pt x="525" y="419"/>
                    <a:pt x="532" y="224"/>
                    <a:pt x="531" y="190"/>
                  </a:cubicBezTo>
                  <a:cubicBezTo>
                    <a:pt x="530" y="170"/>
                    <a:pt x="522" y="165"/>
                    <a:pt x="503" y="155"/>
                  </a:cubicBezTo>
                  <a:cubicBezTo>
                    <a:pt x="494" y="150"/>
                    <a:pt x="487" y="143"/>
                    <a:pt x="491" y="131"/>
                  </a:cubicBezTo>
                  <a:close/>
                  <a:moveTo>
                    <a:pt x="374" y="302"/>
                  </a:moveTo>
                  <a:cubicBezTo>
                    <a:pt x="381" y="337"/>
                    <a:pt x="411" y="476"/>
                    <a:pt x="442" y="621"/>
                  </a:cubicBezTo>
                  <a:cubicBezTo>
                    <a:pt x="395" y="633"/>
                    <a:pt x="336" y="648"/>
                    <a:pt x="303" y="656"/>
                  </a:cubicBezTo>
                  <a:cubicBezTo>
                    <a:pt x="262" y="667"/>
                    <a:pt x="250" y="722"/>
                    <a:pt x="266" y="764"/>
                  </a:cubicBezTo>
                  <a:cubicBezTo>
                    <a:pt x="315" y="895"/>
                    <a:pt x="335" y="944"/>
                    <a:pt x="357" y="1000"/>
                  </a:cubicBezTo>
                  <a:cubicBezTo>
                    <a:pt x="357" y="1010"/>
                    <a:pt x="333" y="1014"/>
                    <a:pt x="305" y="1023"/>
                  </a:cubicBezTo>
                  <a:cubicBezTo>
                    <a:pt x="277" y="1032"/>
                    <a:pt x="295" y="1080"/>
                    <a:pt x="315" y="1080"/>
                  </a:cubicBezTo>
                  <a:lnTo>
                    <a:pt x="458" y="1080"/>
                  </a:lnTo>
                  <a:cubicBezTo>
                    <a:pt x="476" y="1080"/>
                    <a:pt x="499" y="1064"/>
                    <a:pt x="495" y="1020"/>
                  </a:cubicBezTo>
                  <a:cubicBezTo>
                    <a:pt x="492" y="974"/>
                    <a:pt x="472" y="900"/>
                    <a:pt x="442" y="800"/>
                  </a:cubicBezTo>
                  <a:cubicBezTo>
                    <a:pt x="474" y="797"/>
                    <a:pt x="595" y="795"/>
                    <a:pt x="674" y="787"/>
                  </a:cubicBezTo>
                  <a:cubicBezTo>
                    <a:pt x="722" y="979"/>
                    <a:pt x="776" y="1201"/>
                    <a:pt x="788" y="1283"/>
                  </a:cubicBezTo>
                  <a:cubicBezTo>
                    <a:pt x="789" y="1293"/>
                    <a:pt x="764" y="1301"/>
                    <a:pt x="739" y="1311"/>
                  </a:cubicBezTo>
                  <a:cubicBezTo>
                    <a:pt x="699" y="1327"/>
                    <a:pt x="733" y="1370"/>
                    <a:pt x="751" y="1370"/>
                  </a:cubicBezTo>
                  <a:lnTo>
                    <a:pt x="894" y="1370"/>
                  </a:lnTo>
                  <a:cubicBezTo>
                    <a:pt x="913" y="1370"/>
                    <a:pt x="930" y="1362"/>
                    <a:pt x="930" y="1314"/>
                  </a:cubicBezTo>
                  <a:cubicBezTo>
                    <a:pt x="930" y="1212"/>
                    <a:pt x="775" y="323"/>
                    <a:pt x="753" y="222"/>
                  </a:cubicBezTo>
                  <a:cubicBezTo>
                    <a:pt x="808" y="244"/>
                    <a:pt x="849" y="259"/>
                    <a:pt x="903" y="286"/>
                  </a:cubicBezTo>
                  <a:cubicBezTo>
                    <a:pt x="935" y="338"/>
                    <a:pt x="965" y="390"/>
                    <a:pt x="992" y="436"/>
                  </a:cubicBezTo>
                  <a:cubicBezTo>
                    <a:pt x="1007" y="461"/>
                    <a:pt x="1024" y="469"/>
                    <a:pt x="1046" y="458"/>
                  </a:cubicBezTo>
                  <a:cubicBezTo>
                    <a:pt x="1064" y="450"/>
                    <a:pt x="1076" y="443"/>
                    <a:pt x="1093" y="433"/>
                  </a:cubicBezTo>
                  <a:cubicBezTo>
                    <a:pt x="1105" y="427"/>
                    <a:pt x="1111" y="406"/>
                    <a:pt x="1094" y="371"/>
                  </a:cubicBezTo>
                  <a:cubicBezTo>
                    <a:pt x="1070" y="323"/>
                    <a:pt x="1048" y="279"/>
                    <a:pt x="1027" y="236"/>
                  </a:cubicBezTo>
                  <a:cubicBezTo>
                    <a:pt x="1001" y="182"/>
                    <a:pt x="968" y="160"/>
                    <a:pt x="941" y="142"/>
                  </a:cubicBezTo>
                  <a:cubicBezTo>
                    <a:pt x="893" y="111"/>
                    <a:pt x="845" y="80"/>
                    <a:pt x="793" y="48"/>
                  </a:cubicBezTo>
                  <a:cubicBezTo>
                    <a:pt x="733" y="11"/>
                    <a:pt x="714" y="0"/>
                    <a:pt x="669" y="9"/>
                  </a:cubicBezTo>
                  <a:cubicBezTo>
                    <a:pt x="643" y="13"/>
                    <a:pt x="583" y="27"/>
                    <a:pt x="517" y="40"/>
                  </a:cubicBezTo>
                  <a:cubicBezTo>
                    <a:pt x="452" y="54"/>
                    <a:pt x="391" y="67"/>
                    <a:pt x="365" y="72"/>
                  </a:cubicBezTo>
                  <a:cubicBezTo>
                    <a:pt x="315" y="83"/>
                    <a:pt x="294" y="114"/>
                    <a:pt x="259" y="175"/>
                  </a:cubicBezTo>
                  <a:cubicBezTo>
                    <a:pt x="240" y="208"/>
                    <a:pt x="222" y="241"/>
                    <a:pt x="204" y="272"/>
                  </a:cubicBezTo>
                  <a:cubicBezTo>
                    <a:pt x="179" y="247"/>
                    <a:pt x="193" y="262"/>
                    <a:pt x="117" y="177"/>
                  </a:cubicBezTo>
                  <a:cubicBezTo>
                    <a:pt x="91" y="147"/>
                    <a:pt x="69" y="145"/>
                    <a:pt x="59" y="154"/>
                  </a:cubicBezTo>
                  <a:cubicBezTo>
                    <a:pt x="44" y="167"/>
                    <a:pt x="33" y="175"/>
                    <a:pt x="18" y="189"/>
                  </a:cubicBezTo>
                  <a:cubicBezTo>
                    <a:pt x="0" y="205"/>
                    <a:pt x="1" y="224"/>
                    <a:pt x="19" y="247"/>
                  </a:cubicBezTo>
                  <a:cubicBezTo>
                    <a:pt x="42" y="276"/>
                    <a:pt x="131" y="389"/>
                    <a:pt x="158" y="420"/>
                  </a:cubicBezTo>
                  <a:cubicBezTo>
                    <a:pt x="189" y="455"/>
                    <a:pt x="245" y="460"/>
                    <a:pt x="286" y="414"/>
                  </a:cubicBezTo>
                  <a:cubicBezTo>
                    <a:pt x="305" y="392"/>
                    <a:pt x="350" y="334"/>
                    <a:pt x="374" y="302"/>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6" name="Freeform 345">
              <a:extLst>
                <a:ext uri="{FF2B5EF4-FFF2-40B4-BE49-F238E27FC236}">
                  <a16:creationId xmlns:a16="http://schemas.microsoft.com/office/drawing/2014/main" id="{2758794E-03FC-49C6-A314-FB01B823F6C4}"/>
                </a:ext>
              </a:extLst>
            </p:cNvPr>
            <p:cNvSpPr>
              <a:spLocks/>
            </p:cNvSpPr>
            <p:nvPr/>
          </p:nvSpPr>
          <p:spPr bwMode="auto">
            <a:xfrm>
              <a:off x="6253163" y="-142875"/>
              <a:ext cx="239713" cy="282575"/>
            </a:xfrm>
            <a:custGeom>
              <a:avLst/>
              <a:gdLst>
                <a:gd name="T0" fmla="*/ 193 w 314"/>
                <a:gd name="T1" fmla="*/ 355 h 371"/>
                <a:gd name="T2" fmla="*/ 20 w 314"/>
                <a:gd name="T3" fmla="*/ 214 h 371"/>
                <a:gd name="T4" fmla="*/ 121 w 314"/>
                <a:gd name="T5" fmla="*/ 16 h 371"/>
                <a:gd name="T6" fmla="*/ 294 w 314"/>
                <a:gd name="T7" fmla="*/ 156 h 371"/>
                <a:gd name="T8" fmla="*/ 193 w 314"/>
                <a:gd name="T9" fmla="*/ 355 h 371"/>
              </a:gdLst>
              <a:ahLst/>
              <a:cxnLst>
                <a:cxn ang="0">
                  <a:pos x="T0" y="T1"/>
                </a:cxn>
                <a:cxn ang="0">
                  <a:pos x="T2" y="T3"/>
                </a:cxn>
                <a:cxn ang="0">
                  <a:pos x="T4" y="T5"/>
                </a:cxn>
                <a:cxn ang="0">
                  <a:pos x="T6" y="T7"/>
                </a:cxn>
                <a:cxn ang="0">
                  <a:pos x="T8" y="T9"/>
                </a:cxn>
              </a:cxnLst>
              <a:rect l="0" t="0" r="r" b="b"/>
              <a:pathLst>
                <a:path w="314" h="371">
                  <a:moveTo>
                    <a:pt x="193" y="355"/>
                  </a:moveTo>
                  <a:cubicBezTo>
                    <a:pt x="117" y="371"/>
                    <a:pt x="39" y="308"/>
                    <a:pt x="20" y="214"/>
                  </a:cubicBezTo>
                  <a:cubicBezTo>
                    <a:pt x="0" y="121"/>
                    <a:pt x="46" y="32"/>
                    <a:pt x="121" y="16"/>
                  </a:cubicBezTo>
                  <a:cubicBezTo>
                    <a:pt x="197" y="0"/>
                    <a:pt x="275" y="63"/>
                    <a:pt x="294" y="156"/>
                  </a:cubicBezTo>
                  <a:cubicBezTo>
                    <a:pt x="314" y="250"/>
                    <a:pt x="269" y="339"/>
                    <a:pt x="193" y="355"/>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sp>
          <p:nvSpPr>
            <p:cNvPr id="47" name="Freeform 346">
              <a:extLst>
                <a:ext uri="{FF2B5EF4-FFF2-40B4-BE49-F238E27FC236}">
                  <a16:creationId xmlns:a16="http://schemas.microsoft.com/office/drawing/2014/main" id="{F769B017-E350-447E-B7ED-9CEFD9967CCE}"/>
                </a:ext>
              </a:extLst>
            </p:cNvPr>
            <p:cNvSpPr>
              <a:spLocks/>
            </p:cNvSpPr>
            <p:nvPr/>
          </p:nvSpPr>
          <p:spPr bwMode="auto">
            <a:xfrm>
              <a:off x="5856288" y="765175"/>
              <a:ext cx="1203325" cy="696913"/>
            </a:xfrm>
            <a:custGeom>
              <a:avLst/>
              <a:gdLst>
                <a:gd name="T0" fmla="*/ 1131 w 1580"/>
                <a:gd name="T1" fmla="*/ 883 h 914"/>
                <a:gd name="T2" fmla="*/ 1131 w 1580"/>
                <a:gd name="T3" fmla="*/ 629 h 914"/>
                <a:gd name="T4" fmla="*/ 774 w 1580"/>
                <a:gd name="T5" fmla="*/ 629 h 914"/>
                <a:gd name="T6" fmla="*/ 743 w 1580"/>
                <a:gd name="T7" fmla="*/ 599 h 914"/>
                <a:gd name="T8" fmla="*/ 743 w 1580"/>
                <a:gd name="T9" fmla="*/ 345 h 914"/>
                <a:gd name="T10" fmla="*/ 386 w 1580"/>
                <a:gd name="T11" fmla="*/ 345 h 914"/>
                <a:gd name="T12" fmla="*/ 386 w 1580"/>
                <a:gd name="T13" fmla="*/ 345 h 914"/>
                <a:gd name="T14" fmla="*/ 355 w 1580"/>
                <a:gd name="T15" fmla="*/ 315 h 914"/>
                <a:gd name="T16" fmla="*/ 355 w 1580"/>
                <a:gd name="T17" fmla="*/ 61 h 914"/>
                <a:gd name="T18" fmla="*/ 31 w 1580"/>
                <a:gd name="T19" fmla="*/ 61 h 914"/>
                <a:gd name="T20" fmla="*/ 0 w 1580"/>
                <a:gd name="T21" fmla="*/ 30 h 914"/>
                <a:gd name="T22" fmla="*/ 31 w 1580"/>
                <a:gd name="T23" fmla="*/ 0 h 914"/>
                <a:gd name="T24" fmla="*/ 386 w 1580"/>
                <a:gd name="T25" fmla="*/ 0 h 914"/>
                <a:gd name="T26" fmla="*/ 416 w 1580"/>
                <a:gd name="T27" fmla="*/ 30 h 914"/>
                <a:gd name="T28" fmla="*/ 416 w 1580"/>
                <a:gd name="T29" fmla="*/ 284 h 914"/>
                <a:gd name="T30" fmla="*/ 774 w 1580"/>
                <a:gd name="T31" fmla="*/ 284 h 914"/>
                <a:gd name="T32" fmla="*/ 804 w 1580"/>
                <a:gd name="T33" fmla="*/ 315 h 914"/>
                <a:gd name="T34" fmla="*/ 804 w 1580"/>
                <a:gd name="T35" fmla="*/ 568 h 914"/>
                <a:gd name="T36" fmla="*/ 1162 w 1580"/>
                <a:gd name="T37" fmla="*/ 568 h 914"/>
                <a:gd name="T38" fmla="*/ 1192 w 1580"/>
                <a:gd name="T39" fmla="*/ 599 h 914"/>
                <a:gd name="T40" fmla="*/ 1192 w 1580"/>
                <a:gd name="T41" fmla="*/ 853 h 914"/>
                <a:gd name="T42" fmla="*/ 1550 w 1580"/>
                <a:gd name="T43" fmla="*/ 853 h 914"/>
                <a:gd name="T44" fmla="*/ 1580 w 1580"/>
                <a:gd name="T45" fmla="*/ 883 h 914"/>
                <a:gd name="T46" fmla="*/ 1544 w 1580"/>
                <a:gd name="T47" fmla="*/ 914 h 914"/>
                <a:gd name="T48" fmla="*/ 1162 w 1580"/>
                <a:gd name="T49" fmla="*/ 914 h 914"/>
                <a:gd name="T50" fmla="*/ 1131 w 1580"/>
                <a:gd name="T51" fmla="*/ 8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0" h="914">
                  <a:moveTo>
                    <a:pt x="1131" y="883"/>
                  </a:moveTo>
                  <a:lnTo>
                    <a:pt x="1131" y="629"/>
                  </a:lnTo>
                  <a:lnTo>
                    <a:pt x="774" y="629"/>
                  </a:lnTo>
                  <a:cubicBezTo>
                    <a:pt x="757" y="629"/>
                    <a:pt x="743" y="616"/>
                    <a:pt x="743" y="599"/>
                  </a:cubicBezTo>
                  <a:lnTo>
                    <a:pt x="743" y="345"/>
                  </a:lnTo>
                  <a:lnTo>
                    <a:pt x="386" y="345"/>
                  </a:lnTo>
                  <a:lnTo>
                    <a:pt x="386" y="345"/>
                  </a:lnTo>
                  <a:cubicBezTo>
                    <a:pt x="369" y="345"/>
                    <a:pt x="355" y="331"/>
                    <a:pt x="355" y="315"/>
                  </a:cubicBezTo>
                  <a:lnTo>
                    <a:pt x="355" y="61"/>
                  </a:lnTo>
                  <a:lnTo>
                    <a:pt x="31" y="61"/>
                  </a:lnTo>
                  <a:cubicBezTo>
                    <a:pt x="14" y="61"/>
                    <a:pt x="0" y="47"/>
                    <a:pt x="0" y="30"/>
                  </a:cubicBezTo>
                  <a:cubicBezTo>
                    <a:pt x="0" y="13"/>
                    <a:pt x="14" y="0"/>
                    <a:pt x="31" y="0"/>
                  </a:cubicBezTo>
                  <a:lnTo>
                    <a:pt x="386" y="0"/>
                  </a:lnTo>
                  <a:cubicBezTo>
                    <a:pt x="402" y="0"/>
                    <a:pt x="416" y="13"/>
                    <a:pt x="416" y="30"/>
                  </a:cubicBezTo>
                  <a:lnTo>
                    <a:pt x="416" y="284"/>
                  </a:lnTo>
                  <a:lnTo>
                    <a:pt x="774" y="284"/>
                  </a:lnTo>
                  <a:cubicBezTo>
                    <a:pt x="790" y="284"/>
                    <a:pt x="804" y="298"/>
                    <a:pt x="804" y="315"/>
                  </a:cubicBezTo>
                  <a:lnTo>
                    <a:pt x="804" y="568"/>
                  </a:lnTo>
                  <a:lnTo>
                    <a:pt x="1162" y="568"/>
                  </a:lnTo>
                  <a:cubicBezTo>
                    <a:pt x="1179" y="568"/>
                    <a:pt x="1192" y="582"/>
                    <a:pt x="1192" y="599"/>
                  </a:cubicBezTo>
                  <a:lnTo>
                    <a:pt x="1192" y="853"/>
                  </a:lnTo>
                  <a:lnTo>
                    <a:pt x="1550" y="853"/>
                  </a:lnTo>
                  <a:cubicBezTo>
                    <a:pt x="1567" y="853"/>
                    <a:pt x="1580" y="866"/>
                    <a:pt x="1580" y="883"/>
                  </a:cubicBezTo>
                  <a:cubicBezTo>
                    <a:pt x="1580" y="899"/>
                    <a:pt x="1568" y="914"/>
                    <a:pt x="1544" y="914"/>
                  </a:cubicBezTo>
                  <a:lnTo>
                    <a:pt x="1162" y="914"/>
                  </a:lnTo>
                  <a:cubicBezTo>
                    <a:pt x="1145" y="914"/>
                    <a:pt x="1131" y="900"/>
                    <a:pt x="1131" y="883"/>
                  </a:cubicBezTo>
                </a:path>
              </a:pathLst>
            </a:custGeom>
            <a:grpFill/>
            <a:ln w="19050">
              <a:solidFill>
                <a:schemeClr val="bg1"/>
              </a:solidFill>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Calibri" panose="020F0502020204030204"/>
              </a:endParaRPr>
            </a:p>
          </p:txBody>
        </p:sp>
      </p:grpSp>
      <p:sp>
        <p:nvSpPr>
          <p:cNvPr id="60" name="Rectángulo 59"/>
          <p:cNvSpPr/>
          <p:nvPr/>
        </p:nvSpPr>
        <p:spPr>
          <a:xfrm>
            <a:off x="1314036" y="2674632"/>
            <a:ext cx="1893983" cy="369332"/>
          </a:xfrm>
          <a:prstGeom prst="rect">
            <a:avLst/>
          </a:prstGeom>
        </p:spPr>
        <p:txBody>
          <a:bodyPr wrap="squar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概要と期待効果</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grpSp>
        <p:nvGrpSpPr>
          <p:cNvPr id="66" name="Group 14">
            <a:extLst>
              <a:ext uri="{FF2B5EF4-FFF2-40B4-BE49-F238E27FC236}">
                <a16:creationId xmlns:a16="http://schemas.microsoft.com/office/drawing/2014/main" id="{1C37A94A-2FB5-48D0-A786-B43F2FD416E0}"/>
              </a:ext>
            </a:extLst>
          </p:cNvPr>
          <p:cNvGrpSpPr/>
          <p:nvPr/>
        </p:nvGrpSpPr>
        <p:grpSpPr>
          <a:xfrm>
            <a:off x="6069685" y="1464235"/>
            <a:ext cx="552985" cy="552985"/>
            <a:chOff x="761861" y="3510594"/>
            <a:chExt cx="552985" cy="552985"/>
          </a:xfrm>
        </p:grpSpPr>
        <p:sp>
          <p:nvSpPr>
            <p:cNvPr id="67" name="AutoShape 11"/>
            <p:cNvSpPr>
              <a:spLocks noChangeAspect="1" noChangeArrowheads="1" noTextEdit="1"/>
            </p:cNvSpPr>
            <p:nvPr/>
          </p:nvSpPr>
          <p:spPr bwMode="auto">
            <a:xfrm>
              <a:off x="761861" y="3510594"/>
              <a:ext cx="552985" cy="552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endParaRPr>
            </a:p>
          </p:txBody>
        </p:sp>
        <p:sp>
          <p:nvSpPr>
            <p:cNvPr id="68" name="Oval 116"/>
            <p:cNvSpPr>
              <a:spLocks noChangeAspect="1"/>
            </p:cNvSpPr>
            <p:nvPr/>
          </p:nvSpPr>
          <p:spPr>
            <a:xfrm>
              <a:off x="761861" y="3510594"/>
              <a:ext cx="552985" cy="552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ysClr val="windowText" lastClr="000000"/>
                </a:solidFill>
              </a:endParaRPr>
            </a:p>
          </p:txBody>
        </p:sp>
        <p:sp>
          <p:nvSpPr>
            <p:cNvPr id="69" name="Identification">
              <a:extLst>
                <a:ext uri="{FF2B5EF4-FFF2-40B4-BE49-F238E27FC236}">
                  <a16:creationId xmlns:a16="http://schemas.microsoft.com/office/drawing/2014/main" id="{985152F4-D0AD-4849-84AF-E45ED4C87A0A}"/>
                </a:ext>
              </a:extLst>
            </p:cNvPr>
            <p:cNvSpPr>
              <a:spLocks/>
            </p:cNvSpPr>
            <p:nvPr>
              <p:custDataLst>
                <p:tags r:id="rId2"/>
              </p:custDataLst>
            </p:nvPr>
          </p:nvSpPr>
          <p:spPr bwMode="auto">
            <a:xfrm>
              <a:off x="1112113" y="3807657"/>
              <a:ext cx="1473" cy="1473"/>
            </a:xfrm>
            <a:custGeom>
              <a:avLst/>
              <a:gdLst>
                <a:gd name="T0" fmla="*/ 3 w 3"/>
                <a:gd name="T1" fmla="*/ 2 h 2"/>
                <a:gd name="T2" fmla="*/ 0 w 3"/>
                <a:gd name="T3" fmla="*/ 2 h 2"/>
                <a:gd name="T4" fmla="*/ 0 w 3"/>
                <a:gd name="T5" fmla="*/ 0 h 2"/>
                <a:gd name="T6" fmla="*/ 3 w 3"/>
                <a:gd name="T7" fmla="*/ 2 h 2"/>
              </a:gdLst>
              <a:ahLst/>
              <a:cxnLst>
                <a:cxn ang="0">
                  <a:pos x="T0" y="T1"/>
                </a:cxn>
                <a:cxn ang="0">
                  <a:pos x="T2" y="T3"/>
                </a:cxn>
                <a:cxn ang="0">
                  <a:pos x="T4" y="T5"/>
                </a:cxn>
                <a:cxn ang="0">
                  <a:pos x="T6" y="T7"/>
                </a:cxn>
              </a:cxnLst>
              <a:rect l="0" t="0" r="r" b="b"/>
              <a:pathLst>
                <a:path w="3" h="2">
                  <a:moveTo>
                    <a:pt x="3" y="2"/>
                  </a:moveTo>
                  <a:lnTo>
                    <a:pt x="0" y="2"/>
                  </a:lnTo>
                  <a:cubicBezTo>
                    <a:pt x="0" y="1"/>
                    <a:pt x="0" y="1"/>
                    <a:pt x="0" y="0"/>
                  </a:cubicBezTo>
                  <a:cubicBezTo>
                    <a:pt x="1" y="1"/>
                    <a:pt x="2" y="1"/>
                    <a:pt x="3" y="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76" name="Rectángulo 75"/>
          <p:cNvSpPr/>
          <p:nvPr/>
        </p:nvSpPr>
        <p:spPr>
          <a:xfrm>
            <a:off x="6636559" y="1464235"/>
            <a:ext cx="2029723" cy="369332"/>
          </a:xfrm>
          <a:prstGeom prst="rect">
            <a:avLst/>
          </a:prstGeom>
        </p:spPr>
        <p:txBody>
          <a:bodyPr wrap="none">
            <a:spAutoFit/>
          </a:bodyPr>
          <a:lstStyle/>
          <a:p>
            <a:r>
              <a:rPr lang="ja-JP" altLang="es-ES" b="1" dirty="0">
                <a:solidFill>
                  <a:prstClr val="black"/>
                </a:solidFill>
                <a:latin typeface="ＭＳ Ｐゴシック" panose="020B0600070205080204" pitchFamily="50" charset="-128"/>
                <a:ea typeface="ＭＳ Ｐゴシック" panose="020B0600070205080204" pitchFamily="50" charset="-128"/>
              </a:rPr>
              <a:t>アセスメント</a:t>
            </a:r>
            <a:r>
              <a:rPr lang="ja-JP" altLang="en-US" b="1" dirty="0">
                <a:solidFill>
                  <a:prstClr val="black"/>
                </a:solidFill>
                <a:latin typeface="ＭＳ Ｐゴシック" panose="020B0600070205080204" pitchFamily="50" charset="-128"/>
                <a:ea typeface="ＭＳ Ｐゴシック" panose="020B0600070205080204" pitchFamily="50" charset="-128"/>
              </a:rPr>
              <a:t>の紹介</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grpSp>
        <p:nvGrpSpPr>
          <p:cNvPr id="83" name="Reload" descr="{&quot;Key&quot;:&quot;POWER_USER_SHAPE_ICON&quot;,&quot;Value&quot;:&quot;POWER_USER_SHAPE_ICON_STYLE_1&quot;}">
            <a:extLst>
              <a:ext uri="{FF2B5EF4-FFF2-40B4-BE49-F238E27FC236}">
                <a16:creationId xmlns:a16="http://schemas.microsoft.com/office/drawing/2014/main" id="{B7E41015-6448-458A-847D-85999440ADC4}"/>
              </a:ext>
            </a:extLst>
          </p:cNvPr>
          <p:cNvGrpSpPr>
            <a:grpSpLocks noChangeAspect="1"/>
          </p:cNvGrpSpPr>
          <p:nvPr/>
        </p:nvGrpSpPr>
        <p:grpSpPr>
          <a:xfrm>
            <a:off x="6203386" y="1541226"/>
            <a:ext cx="310779" cy="359246"/>
            <a:chOff x="10224666" y="2948305"/>
            <a:chExt cx="122586" cy="141705"/>
          </a:xfrm>
          <a:solidFill>
            <a:schemeClr val="bg1"/>
          </a:solidFill>
        </p:grpSpPr>
        <p:sp>
          <p:nvSpPr>
            <p:cNvPr id="84" name="Freeform 142">
              <a:extLst>
                <a:ext uri="{FF2B5EF4-FFF2-40B4-BE49-F238E27FC236}">
                  <a16:creationId xmlns:a16="http://schemas.microsoft.com/office/drawing/2014/main" id="{2F8EB3B7-807C-400B-87FC-1194C7B03222}"/>
                </a:ext>
              </a:extLst>
            </p:cNvPr>
            <p:cNvSpPr>
              <a:spLocks noChangeAspect="1"/>
            </p:cNvSpPr>
            <p:nvPr/>
          </p:nvSpPr>
          <p:spPr bwMode="auto">
            <a:xfrm>
              <a:off x="10224666" y="2965928"/>
              <a:ext cx="122586" cy="124082"/>
            </a:xfrm>
            <a:custGeom>
              <a:avLst/>
              <a:gdLst>
                <a:gd name="T0" fmla="*/ 107 w 213"/>
                <a:gd name="T1" fmla="*/ 214 h 214"/>
                <a:gd name="T2" fmla="*/ 0 w 213"/>
                <a:gd name="T3" fmla="*/ 107 h 214"/>
                <a:gd name="T4" fmla="*/ 107 w 213"/>
                <a:gd name="T5" fmla="*/ 0 h 214"/>
                <a:gd name="T6" fmla="*/ 156 w 213"/>
                <a:gd name="T7" fmla="*/ 12 h 214"/>
                <a:gd name="T8" fmla="*/ 148 w 213"/>
                <a:gd name="T9" fmla="*/ 27 h 214"/>
                <a:gd name="T10" fmla="*/ 107 w 213"/>
                <a:gd name="T11" fmla="*/ 17 h 214"/>
                <a:gd name="T12" fmla="*/ 17 w 213"/>
                <a:gd name="T13" fmla="*/ 107 h 214"/>
                <a:gd name="T14" fmla="*/ 107 w 213"/>
                <a:gd name="T15" fmla="*/ 197 h 214"/>
                <a:gd name="T16" fmla="*/ 197 w 213"/>
                <a:gd name="T17" fmla="*/ 107 h 214"/>
                <a:gd name="T18" fmla="*/ 170 w 213"/>
                <a:gd name="T19" fmla="*/ 43 h 214"/>
                <a:gd name="T20" fmla="*/ 182 w 213"/>
                <a:gd name="T21" fmla="*/ 32 h 214"/>
                <a:gd name="T22" fmla="*/ 213 w 213"/>
                <a:gd name="T23" fmla="*/ 107 h 214"/>
                <a:gd name="T24" fmla="*/ 107 w 213"/>
                <a:gd name="T25"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214">
                  <a:moveTo>
                    <a:pt x="107" y="214"/>
                  </a:moveTo>
                  <a:cubicBezTo>
                    <a:pt x="48" y="214"/>
                    <a:pt x="0" y="166"/>
                    <a:pt x="0" y="107"/>
                  </a:cubicBezTo>
                  <a:cubicBezTo>
                    <a:pt x="0" y="48"/>
                    <a:pt x="48" y="0"/>
                    <a:pt x="107" y="0"/>
                  </a:cubicBezTo>
                  <a:cubicBezTo>
                    <a:pt x="124" y="0"/>
                    <a:pt x="141" y="5"/>
                    <a:pt x="156" y="12"/>
                  </a:cubicBezTo>
                  <a:lnTo>
                    <a:pt x="148" y="27"/>
                  </a:lnTo>
                  <a:cubicBezTo>
                    <a:pt x="135" y="20"/>
                    <a:pt x="121" y="17"/>
                    <a:pt x="107" y="17"/>
                  </a:cubicBezTo>
                  <a:cubicBezTo>
                    <a:pt x="57" y="17"/>
                    <a:pt x="17" y="57"/>
                    <a:pt x="17" y="107"/>
                  </a:cubicBezTo>
                  <a:cubicBezTo>
                    <a:pt x="17" y="157"/>
                    <a:pt x="57" y="197"/>
                    <a:pt x="107" y="197"/>
                  </a:cubicBezTo>
                  <a:cubicBezTo>
                    <a:pt x="156" y="197"/>
                    <a:pt x="197" y="157"/>
                    <a:pt x="197" y="107"/>
                  </a:cubicBezTo>
                  <a:cubicBezTo>
                    <a:pt x="197" y="83"/>
                    <a:pt x="187" y="60"/>
                    <a:pt x="170" y="43"/>
                  </a:cubicBezTo>
                  <a:lnTo>
                    <a:pt x="182" y="32"/>
                  </a:lnTo>
                  <a:cubicBezTo>
                    <a:pt x="202" y="52"/>
                    <a:pt x="213" y="79"/>
                    <a:pt x="213" y="107"/>
                  </a:cubicBezTo>
                  <a:cubicBezTo>
                    <a:pt x="213" y="166"/>
                    <a:pt x="166" y="214"/>
                    <a:pt x="107"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alibri" panose="020F0502020204030204"/>
              </a:endParaRPr>
            </a:p>
          </p:txBody>
        </p:sp>
        <p:sp>
          <p:nvSpPr>
            <p:cNvPr id="85" name="Freeform 491">
              <a:extLst>
                <a:ext uri="{FF2B5EF4-FFF2-40B4-BE49-F238E27FC236}">
                  <a16:creationId xmlns:a16="http://schemas.microsoft.com/office/drawing/2014/main" id="{10896075-EFC8-430E-9CD7-D086FCDEE80A}"/>
                </a:ext>
              </a:extLst>
            </p:cNvPr>
            <p:cNvSpPr>
              <a:spLocks noChangeAspect="1"/>
            </p:cNvSpPr>
            <p:nvPr/>
          </p:nvSpPr>
          <p:spPr bwMode="auto">
            <a:xfrm rot="511342">
              <a:off x="10277295" y="2948305"/>
              <a:ext cx="41735" cy="49260"/>
            </a:xfrm>
            <a:custGeom>
              <a:avLst/>
              <a:gdLst>
                <a:gd name="T0" fmla="*/ 8 w 105"/>
                <a:gd name="T1" fmla="*/ 125 h 125"/>
                <a:gd name="T2" fmla="*/ 2 w 105"/>
                <a:gd name="T3" fmla="*/ 121 h 125"/>
                <a:gd name="T4" fmla="*/ 4 w 105"/>
                <a:gd name="T5" fmla="*/ 111 h 125"/>
                <a:gd name="T6" fmla="*/ 84 w 105"/>
                <a:gd name="T7" fmla="*/ 63 h 125"/>
                <a:gd name="T8" fmla="*/ 4 w 105"/>
                <a:gd name="T9" fmla="*/ 14 h 125"/>
                <a:gd name="T10" fmla="*/ 2 w 105"/>
                <a:gd name="T11" fmla="*/ 4 h 125"/>
                <a:gd name="T12" fmla="*/ 12 w 105"/>
                <a:gd name="T13" fmla="*/ 2 h 125"/>
                <a:gd name="T14" fmla="*/ 102 w 105"/>
                <a:gd name="T15" fmla="*/ 56 h 125"/>
                <a:gd name="T16" fmla="*/ 105 w 105"/>
                <a:gd name="T17" fmla="*/ 63 h 125"/>
                <a:gd name="T18" fmla="*/ 102 w 105"/>
                <a:gd name="T19" fmla="*/ 69 h 125"/>
                <a:gd name="T20" fmla="*/ 12 w 105"/>
                <a:gd name="T21" fmla="*/ 124 h 125"/>
                <a:gd name="T22" fmla="*/ 8 w 105"/>
                <a:gd name="T2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5">
                  <a:moveTo>
                    <a:pt x="8" y="125"/>
                  </a:moveTo>
                  <a:cubicBezTo>
                    <a:pt x="6" y="125"/>
                    <a:pt x="3" y="123"/>
                    <a:pt x="2" y="121"/>
                  </a:cubicBezTo>
                  <a:cubicBezTo>
                    <a:pt x="0" y="118"/>
                    <a:pt x="1" y="113"/>
                    <a:pt x="4" y="111"/>
                  </a:cubicBezTo>
                  <a:lnTo>
                    <a:pt x="84" y="63"/>
                  </a:lnTo>
                  <a:lnTo>
                    <a:pt x="4" y="14"/>
                  </a:lnTo>
                  <a:cubicBezTo>
                    <a:pt x="1" y="12"/>
                    <a:pt x="0" y="8"/>
                    <a:pt x="2" y="4"/>
                  </a:cubicBezTo>
                  <a:cubicBezTo>
                    <a:pt x="4" y="1"/>
                    <a:pt x="9" y="0"/>
                    <a:pt x="12" y="2"/>
                  </a:cubicBezTo>
                  <a:lnTo>
                    <a:pt x="102" y="56"/>
                  </a:lnTo>
                  <a:cubicBezTo>
                    <a:pt x="104" y="58"/>
                    <a:pt x="105" y="60"/>
                    <a:pt x="105" y="63"/>
                  </a:cubicBezTo>
                  <a:cubicBezTo>
                    <a:pt x="105" y="65"/>
                    <a:pt x="104" y="68"/>
                    <a:pt x="102" y="69"/>
                  </a:cubicBezTo>
                  <a:lnTo>
                    <a:pt x="12" y="124"/>
                  </a:lnTo>
                  <a:cubicBezTo>
                    <a:pt x="11" y="124"/>
                    <a:pt x="10" y="125"/>
                    <a:pt x="8" y="12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dirty="0">
                <a:solidFill>
                  <a:prstClr val="black"/>
                </a:solidFill>
                <a:latin typeface="Calibri" panose="020F0502020204030204"/>
              </a:endParaRPr>
            </a:p>
          </p:txBody>
        </p:sp>
      </p:grpSp>
      <p:sp>
        <p:nvSpPr>
          <p:cNvPr id="77" name="Rectángulo 61"/>
          <p:cNvSpPr/>
          <p:nvPr/>
        </p:nvSpPr>
        <p:spPr>
          <a:xfrm>
            <a:off x="1293435" y="4830557"/>
            <a:ext cx="1144388" cy="369332"/>
          </a:xfrm>
          <a:prstGeom prst="rect">
            <a:avLst/>
          </a:prstGeom>
        </p:spPr>
        <p:txBody>
          <a:bodyPr wrap="square">
            <a:spAutoFit/>
          </a:bodyPr>
          <a:lstStyle/>
          <a:p>
            <a:r>
              <a:rPr lang="ja-JP" altLang="en-US" b="1" dirty="0">
                <a:solidFill>
                  <a:prstClr val="black"/>
                </a:solidFill>
                <a:latin typeface="ＭＳ Ｐゴシック" panose="020B0600070205080204" pitchFamily="50" charset="-128"/>
                <a:ea typeface="ＭＳ Ｐゴシック" panose="020B0600070205080204" pitchFamily="50" charset="-128"/>
              </a:rPr>
              <a:t>削減効果</a:t>
            </a:r>
            <a:endParaRPr lang="en-US" b="1" dirty="0">
              <a:solidFill>
                <a:prstClr val="black"/>
              </a:solidFill>
              <a:latin typeface="ＭＳ Ｐゴシック" panose="020B0600070205080204" pitchFamily="50" charset="-128"/>
              <a:ea typeface="ＭＳ Ｐゴシック" panose="020B0600070205080204" pitchFamily="50" charset="-128"/>
            </a:endParaRPr>
          </a:p>
        </p:txBody>
      </p:sp>
      <p:sp>
        <p:nvSpPr>
          <p:cNvPr id="62" name="Rectángulo 85"/>
          <p:cNvSpPr/>
          <p:nvPr/>
        </p:nvSpPr>
        <p:spPr>
          <a:xfrm>
            <a:off x="829822" y="5521781"/>
            <a:ext cx="3280939" cy="400110"/>
          </a:xfrm>
          <a:prstGeom prst="rect">
            <a:avLst/>
          </a:prstGeom>
        </p:spPr>
        <p:txBody>
          <a:bodyPr wrap="square">
            <a:spAutoFit/>
          </a:bodyPr>
          <a:lstStyle/>
          <a:p>
            <a:r>
              <a:rPr lang="ja-JP" altLang="en-US" sz="2000" dirty="0">
                <a:solidFill>
                  <a:prstClr val="black"/>
                </a:solidFill>
                <a:latin typeface="ＭＳ Ｐゴシック" panose="020B0600070205080204" pitchFamily="50" charset="-128"/>
                <a:ea typeface="ＭＳ Ｐゴシック" panose="020B0600070205080204" pitchFamily="50" charset="-128"/>
              </a:rPr>
              <a:t>      年間   </a:t>
            </a:r>
            <a:r>
              <a:rPr lang="en-US" altLang="ja-JP" sz="2000" dirty="0">
                <a:solidFill>
                  <a:prstClr val="black"/>
                </a:solidFill>
                <a:latin typeface="ＭＳ Ｐゴシック" panose="020B0600070205080204" pitchFamily="50" charset="-128"/>
                <a:ea typeface="ＭＳ Ｐゴシック" panose="020B0600070205080204" pitchFamily="50" charset="-128"/>
              </a:rPr>
              <a:t>2000</a:t>
            </a:r>
            <a:r>
              <a:rPr lang="ja-JP" altLang="en-US" sz="2000" dirty="0">
                <a:solidFill>
                  <a:prstClr val="black"/>
                </a:solidFill>
                <a:latin typeface="ＭＳ Ｐゴシック" panose="020B0600070205080204" pitchFamily="50" charset="-128"/>
                <a:ea typeface="ＭＳ Ｐゴシック" panose="020B0600070205080204" pitchFamily="50" charset="-128"/>
              </a:rPr>
              <a:t>時間</a:t>
            </a:r>
            <a:endParaRPr lang="en-US" sz="2000" dirty="0">
              <a:solidFill>
                <a:prstClr val="black"/>
              </a:solidFill>
              <a:latin typeface="ＭＳ Ｐゴシック" panose="020B0600070205080204" pitchFamily="50" charset="-128"/>
              <a:ea typeface="ＭＳ Ｐゴシック" panose="020B0600070205080204" pitchFamily="50" charset="-128"/>
            </a:endParaRPr>
          </a:p>
        </p:txBody>
      </p:sp>
      <p:pic>
        <p:nvPicPr>
          <p:cNvPr id="78" name="Imagem 8" descr="Placa azul com letras brancas em fundo preto&#10;&#10;Descrição gerada automaticamente">
            <a:extLst>
              <a:ext uri="{FF2B5EF4-FFF2-40B4-BE49-F238E27FC236}">
                <a16:creationId xmlns:a16="http://schemas.microsoft.com/office/drawing/2014/main" id="{8CD0F01C-DCA6-43B4-B14E-58C0BF67F96C}"/>
              </a:ext>
            </a:extLst>
          </p:cNvPr>
          <p:cNvPicPr>
            <a:picLocks noChangeAspect="1"/>
          </p:cNvPicPr>
          <p:nvPr/>
        </p:nvPicPr>
        <p:blipFill>
          <a:blip r:embed="rId10"/>
          <a:stretch>
            <a:fillRect/>
          </a:stretch>
        </p:blipFill>
        <p:spPr>
          <a:xfrm>
            <a:off x="10386559" y="537721"/>
            <a:ext cx="1180601" cy="699519"/>
          </a:xfrm>
          <a:prstGeom prst="rect">
            <a:avLst/>
          </a:prstGeom>
        </p:spPr>
      </p:pic>
      <p:pic>
        <p:nvPicPr>
          <p:cNvPr id="57" name="Imagen 3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890996" y="2642954"/>
            <a:ext cx="3690726" cy="1973890"/>
          </a:xfrm>
          <a:prstGeom prst="rect">
            <a:avLst/>
          </a:prstGeom>
          <a:solidFill>
            <a:srgbClr val="FFFFFF"/>
          </a:solidFill>
        </p:spPr>
      </p:pic>
      <p:pic>
        <p:nvPicPr>
          <p:cNvPr id="61" name="Imagen 3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90996" y="4676020"/>
            <a:ext cx="3716739" cy="1783873"/>
          </a:xfrm>
          <a:prstGeom prst="rect">
            <a:avLst/>
          </a:prstGeom>
          <a:solidFill>
            <a:srgbClr val="FFFFFF"/>
          </a:solidFill>
        </p:spPr>
      </p:pic>
      <p:sp>
        <p:nvSpPr>
          <p:cNvPr id="16" name="CuadroTexto 15"/>
          <p:cNvSpPr txBox="1"/>
          <p:nvPr/>
        </p:nvSpPr>
        <p:spPr>
          <a:xfrm>
            <a:off x="6085096" y="2022755"/>
            <a:ext cx="5668539" cy="6196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20000"/>
              </a:lnSpc>
              <a:spcBef>
                <a:spcPts val="0"/>
              </a:spcBef>
              <a:spcAft>
                <a:spcPts val="0"/>
              </a:spcAft>
              <a:buClrTx/>
              <a:buSzTx/>
              <a:buFontTx/>
              <a:buNone/>
              <a:tabLst/>
            </a:pPr>
            <a:r>
              <a:rPr lang="ja-JP" altLang="es-ES" sz="1400" spc="-96" dirty="0">
                <a:solidFill>
                  <a:srgbClr val="212121">
                    <a:alpha val="90000"/>
                  </a:srgbClr>
                </a:solidFill>
                <a:sym typeface="Circular Pro Book"/>
              </a:rPr>
              <a:t>業務アセスメント</a:t>
            </a:r>
            <a:r>
              <a:rPr lang="es-ES" altLang="ja-JP" sz="1400" spc="-96" dirty="0" err="1">
                <a:solidFill>
                  <a:srgbClr val="212121">
                    <a:alpha val="90000"/>
                  </a:srgbClr>
                </a:solidFill>
                <a:sym typeface="Circular Pro Book"/>
              </a:rPr>
              <a:t>Tool</a:t>
            </a:r>
            <a:r>
              <a:rPr lang="es-ES" altLang="ja-JP" sz="1400" spc="-96" dirty="0">
                <a:solidFill>
                  <a:srgbClr val="212121">
                    <a:alpha val="90000"/>
                  </a:srgbClr>
                </a:solidFill>
                <a:sym typeface="Circular Pro Book"/>
              </a:rPr>
              <a:t> kit</a:t>
            </a:r>
            <a:r>
              <a:rPr lang="ja-JP" altLang="es-ES" sz="1400" spc="-96" dirty="0">
                <a:solidFill>
                  <a:srgbClr val="212121">
                    <a:alpha val="90000"/>
                  </a:srgbClr>
                </a:solidFill>
                <a:sym typeface="Circular Pro Book"/>
              </a:rPr>
              <a:t>を活用し、</a:t>
            </a:r>
            <a:r>
              <a:rPr kumimoji="0" lang="ja-JP" altLang="es-ES" sz="1400" b="0" i="0" u="none" strike="noStrike" cap="none" spc="-96" normalizeH="0" baseline="0" dirty="0">
                <a:ln>
                  <a:noFill/>
                </a:ln>
                <a:solidFill>
                  <a:srgbClr val="212121">
                    <a:alpha val="90000"/>
                  </a:srgbClr>
                </a:solidFill>
                <a:effectLst/>
                <a:uFillTx/>
                <a:sym typeface="Circular Pro Book"/>
              </a:rPr>
              <a:t>自動化の費用対効果や影響度を考慮し</a:t>
            </a:r>
            <a:endParaRPr kumimoji="0" lang="es-ES" altLang="ja-JP" sz="1400" b="0" i="0" u="none" strike="noStrike" cap="none" spc="-96" normalizeH="0" baseline="0" dirty="0">
              <a:ln>
                <a:noFill/>
              </a:ln>
              <a:solidFill>
                <a:srgbClr val="212121">
                  <a:alpha val="90000"/>
                </a:srgbClr>
              </a:solidFill>
              <a:effectLst/>
              <a:uFillTx/>
              <a:sym typeface="Circular Pro Book"/>
            </a:endParaRPr>
          </a:p>
          <a:p>
            <a:pPr marL="0" marR="0" indent="0" algn="l" defTabSz="825500" rtl="0" fontAlgn="auto" latinLnBrk="0" hangingPunct="0">
              <a:lnSpc>
                <a:spcPct val="120000"/>
              </a:lnSpc>
              <a:spcBef>
                <a:spcPts val="0"/>
              </a:spcBef>
              <a:spcAft>
                <a:spcPts val="0"/>
              </a:spcAft>
              <a:buClrTx/>
              <a:buSzTx/>
              <a:buFontTx/>
              <a:buNone/>
              <a:tabLst/>
            </a:pPr>
            <a:r>
              <a:rPr lang="ja-JP" altLang="es-ES" sz="1400" spc="-96" dirty="0">
                <a:solidFill>
                  <a:srgbClr val="212121">
                    <a:alpha val="90000"/>
                  </a:srgbClr>
                </a:solidFill>
                <a:sym typeface="Circular Pro Book"/>
              </a:rPr>
              <a:t>取り組みプロセスの優先順位付け（</a:t>
            </a:r>
            <a:r>
              <a:rPr lang="es-ES" altLang="ja-JP" sz="1400" spc="-96" dirty="0">
                <a:solidFill>
                  <a:srgbClr val="212121">
                    <a:alpha val="90000"/>
                  </a:srgbClr>
                </a:solidFill>
                <a:sym typeface="Circular Pro Book"/>
              </a:rPr>
              <a:t>KPI</a:t>
            </a:r>
            <a:r>
              <a:rPr lang="ja-JP" altLang="es-ES" sz="1400" spc="-96" dirty="0">
                <a:solidFill>
                  <a:srgbClr val="212121">
                    <a:alpha val="90000"/>
                  </a:srgbClr>
                </a:solidFill>
                <a:sym typeface="Circular Pro Book"/>
              </a:rPr>
              <a:t>項目に各社に合わせた重み付け）</a:t>
            </a:r>
            <a:endParaRPr kumimoji="0" lang="es-ES" sz="1400" b="0" i="0" u="none" strike="noStrike" cap="none" spc="-96" normalizeH="0" baseline="0" dirty="0">
              <a:ln>
                <a:noFill/>
              </a:ln>
              <a:solidFill>
                <a:srgbClr val="212121">
                  <a:alpha val="90000"/>
                </a:srgbClr>
              </a:solidFill>
              <a:effectLst/>
              <a:uFillTx/>
              <a:sym typeface="Circular Pro Book"/>
            </a:endParaRPr>
          </a:p>
        </p:txBody>
      </p:sp>
    </p:spTree>
    <p:extLst>
      <p:ext uri="{BB962C8B-B14F-4D97-AF65-F5344CB8AC3E}">
        <p14:creationId xmlns:p14="http://schemas.microsoft.com/office/powerpoint/2010/main" val="219463513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identification_POWER_USER_SEPARATOR_ICONS_drivers-license_POWER_USER_SEPARATOR_ICONS_id-card_POWER_USER_SEPARATOR_ICONS_license_POWER_USER_SEPARATOR_ICONS_state-id_POWER_USER_SEPARATOR_ICONS_voter-id_POWER_USER_SEPARATOR_ICONS_voting-id"/>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TT Data Auto">
  <a:themeElements>
    <a:clrScheme name="Gre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ll Century Gothic">
      <a:majorFont>
        <a:latin typeface="Century Gothic"/>
        <a:ea typeface="Arial"/>
        <a:cs typeface="Arial"/>
      </a:majorFont>
      <a:minorFont>
        <a:latin typeface="Century Gothic"/>
        <a:ea typeface="Helvetica"/>
        <a:cs typeface="Helvetica"/>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120000"/>
          </a:lnSpc>
          <a:spcBef>
            <a:spcPts val="0"/>
          </a:spcBef>
          <a:spcAft>
            <a:spcPts val="0"/>
          </a:spcAft>
          <a:buClrTx/>
          <a:buSzTx/>
          <a:buFontTx/>
          <a:buNone/>
          <a:tabLst/>
          <a:defRPr kumimoji="0" sz="2400" b="0" i="0" u="none" strike="noStrike" cap="none" spc="-96" normalizeH="0" baseline="0">
            <a:ln>
              <a:noFill/>
            </a:ln>
            <a:solidFill>
              <a:srgbClr val="212121">
                <a:alpha val="90000"/>
              </a:srgbClr>
            </a:solidFill>
            <a:effectLst/>
            <a:uFillTx/>
            <a:latin typeface="+mn-lt"/>
            <a:ea typeface="+mn-ea"/>
            <a:cs typeface="+mn-cs"/>
            <a:sym typeface="Circular Pro Boo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Tema do Office">
  <a:themeElements>
    <a:clrScheme name="everis">
      <a:dk1>
        <a:srgbClr val="505050"/>
      </a:dk1>
      <a:lt1>
        <a:srgbClr val="FFFFFF"/>
      </a:lt1>
      <a:dk2>
        <a:srgbClr val="505050"/>
      </a:dk2>
      <a:lt2>
        <a:srgbClr val="FFFFFF"/>
      </a:lt2>
      <a:accent1>
        <a:srgbClr val="59A189"/>
      </a:accent1>
      <a:accent2>
        <a:srgbClr val="58B6C0"/>
      </a:accent2>
      <a:accent3>
        <a:srgbClr val="75BDA7"/>
      </a:accent3>
      <a:accent4>
        <a:srgbClr val="7A8C8E"/>
      </a:accent4>
      <a:accent5>
        <a:srgbClr val="969696"/>
      </a:accent5>
      <a:accent6>
        <a:srgbClr val="9AAE04"/>
      </a:accent6>
      <a:hlink>
        <a:srgbClr val="0070C0"/>
      </a:hlink>
      <a:folHlink>
        <a:srgbClr val="0070C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DS&amp;T_Windows_v2" id="{E50A5A3E-D6D2-4346-9B83-551E1E11409A}" vid="{67484AD6-736F-C84A-BECF-0671126A6071}"/>
    </a:ext>
  </a:extLst>
</a:theme>
</file>

<file path=ppt/theme/theme3.xml><?xml version="1.0" encoding="utf-8"?>
<a:theme xmlns:a="http://schemas.openxmlformats.org/drawingml/2006/main" name="1_NTT Data Auto">
  <a:themeElements>
    <a:clrScheme name="Gre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ll Century Gothic">
      <a:majorFont>
        <a:latin typeface="Century Gothic"/>
        <a:ea typeface="Arial"/>
        <a:cs typeface="Arial"/>
      </a:majorFont>
      <a:minorFont>
        <a:latin typeface="Century Gothic"/>
        <a:ea typeface="Helvetica"/>
        <a:cs typeface="Helvetica"/>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120000"/>
          </a:lnSpc>
          <a:spcBef>
            <a:spcPts val="0"/>
          </a:spcBef>
          <a:spcAft>
            <a:spcPts val="0"/>
          </a:spcAft>
          <a:buClrTx/>
          <a:buSzTx/>
          <a:buFontTx/>
          <a:buNone/>
          <a:tabLst/>
          <a:defRPr kumimoji="0" sz="2400" b="0" i="0" u="none" strike="noStrike" cap="none" spc="-96" normalizeH="0" baseline="0">
            <a:ln>
              <a:noFill/>
            </a:ln>
            <a:solidFill>
              <a:srgbClr val="212121">
                <a:alpha val="90000"/>
              </a:srgbClr>
            </a:solidFill>
            <a:effectLst/>
            <a:uFillTx/>
            <a:latin typeface="+mn-lt"/>
            <a:ea typeface="+mn-ea"/>
            <a:cs typeface="+mn-cs"/>
            <a:sym typeface="Circular Pro Boo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NTT Data Auto">
  <a:themeElements>
    <a:clrScheme name="Gre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ll Century Gothic">
      <a:majorFont>
        <a:latin typeface="Century Gothic"/>
        <a:ea typeface="Arial"/>
        <a:cs typeface="Arial"/>
      </a:majorFont>
      <a:minorFont>
        <a:latin typeface="Century Gothic"/>
        <a:ea typeface="Helvetica"/>
        <a:cs typeface="Helvetica"/>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120000"/>
          </a:lnSpc>
          <a:spcBef>
            <a:spcPts val="0"/>
          </a:spcBef>
          <a:spcAft>
            <a:spcPts val="0"/>
          </a:spcAft>
          <a:buClrTx/>
          <a:buSzTx/>
          <a:buFontTx/>
          <a:buNone/>
          <a:tabLst/>
          <a:defRPr kumimoji="0" sz="2400" b="0" i="0" u="none" strike="noStrike" cap="none" spc="-96" normalizeH="0" baseline="0">
            <a:ln>
              <a:noFill/>
            </a:ln>
            <a:solidFill>
              <a:srgbClr val="212121">
                <a:alpha val="90000"/>
              </a:srgbClr>
            </a:solidFill>
            <a:effectLst/>
            <a:uFillTx/>
            <a:latin typeface="+mn-lt"/>
            <a:ea typeface="+mn-ea"/>
            <a:cs typeface="+mn-cs"/>
            <a:sym typeface="Circular Pro Book"/>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3048dc87-43f0-4100-9acb-ae1971c79395}" enabled="0" method="" siteId="{3048dc87-43f0-4100-9acb-ae1971c79395}" removed="1"/>
</clbl:labelList>
</file>

<file path=docProps/app.xml><?xml version="1.0" encoding="utf-8"?>
<Properties xmlns="http://schemas.openxmlformats.org/officeDocument/2006/extended-properties" xmlns:vt="http://schemas.openxmlformats.org/officeDocument/2006/docPropsVTypes">
  <TotalTime>4982</TotalTime>
  <Words>1761</Words>
  <Application>Microsoft Office PowerPoint</Application>
  <PresentationFormat>ワイド画面</PresentationFormat>
  <Paragraphs>301</Paragraphs>
  <Slides>16</Slides>
  <Notes>1</Notes>
  <HiddenSlides>0</HiddenSlides>
  <MMClips>1</MMClips>
  <ScaleCrop>false</ScaleCrop>
  <HeadingPairs>
    <vt:vector size="8" baseType="variant">
      <vt:variant>
        <vt:lpstr>使用されているフォント</vt:lpstr>
      </vt:variant>
      <vt:variant>
        <vt:i4>11</vt:i4>
      </vt:variant>
      <vt:variant>
        <vt:lpstr>テーマ</vt:lpstr>
      </vt:variant>
      <vt:variant>
        <vt:i4>4</vt:i4>
      </vt:variant>
      <vt:variant>
        <vt:lpstr>埋め込まれた OLE サーバー</vt:lpstr>
      </vt:variant>
      <vt:variant>
        <vt:i4>1</vt:i4>
      </vt:variant>
      <vt:variant>
        <vt:lpstr>スライド タイトル</vt:lpstr>
      </vt:variant>
      <vt:variant>
        <vt:i4>16</vt:i4>
      </vt:variant>
    </vt:vector>
  </HeadingPairs>
  <TitlesOfParts>
    <vt:vector size="32" baseType="lpstr">
      <vt:lpstr>Graphik Regular</vt:lpstr>
      <vt:lpstr>Graphik-SemiboldItalic</vt:lpstr>
      <vt:lpstr>Helvetica Neue Medium</vt:lpstr>
      <vt:lpstr>メイリオ</vt:lpstr>
      <vt:lpstr>Meiryo UI</vt:lpstr>
      <vt:lpstr>ＭＳ Ｐゴシック</vt:lpstr>
      <vt:lpstr>Arial</vt:lpstr>
      <vt:lpstr>Calibri</vt:lpstr>
      <vt:lpstr>Century Gothic</vt:lpstr>
      <vt:lpstr>Roboto</vt:lpstr>
      <vt:lpstr>Wingdings</vt:lpstr>
      <vt:lpstr>NTT Data Auto</vt:lpstr>
      <vt:lpstr>Tema do Office</vt:lpstr>
      <vt:lpstr>1_NTT Data Auto</vt:lpstr>
      <vt:lpstr>2_NTT Data Auto</vt:lpstr>
      <vt:lpstr>Diapositiva de think-cell</vt:lpstr>
      <vt:lpstr>PowerPoint プレゼンテーション</vt:lpstr>
      <vt:lpstr>PowerPoint プレゼンテーション</vt:lpstr>
      <vt:lpstr>PowerPoint プレゼンテーション</vt:lpstr>
      <vt:lpstr>PowerPoint プレゼンテーション</vt:lpstr>
      <vt:lpstr>域内各国でRPAによる業務効率化を促進</vt:lpstr>
      <vt:lpstr>工数削減にとどまらないRPA導入によるメリット</vt:lpstr>
      <vt:lpstr>定量・定性の両側面から効果を想定</vt:lpstr>
      <vt:lpstr>PowerPoint プレゼンテーション</vt:lpstr>
      <vt:lpstr>PowerPoint プレゼンテーション</vt:lpstr>
      <vt:lpstr>PowerPoint プレゼンテーション</vt:lpstr>
      <vt:lpstr>PowerPoint プレゼンテーション</vt:lpstr>
      <vt:lpstr>幅広いケーパビリティを培い、柔軟に各社様の個別ニーズに応える体制を実現</vt:lpstr>
      <vt:lpstr>PowerPoint プレゼンテーション</vt:lpstr>
      <vt:lpstr>多岐にわたる業界各企業にて自動化プロジェクトを推進中</vt:lpstr>
      <vt:lpstr>コーポレートレベルでのRPAによる業務効率化を推進</vt:lpstr>
      <vt:lpstr>コーポレートレベルでのRPAによる業務効率化を推進</vt:lpstr>
    </vt:vector>
  </TitlesOfParts>
  <Company>Ever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Keiko Nakajima</dc:creator>
  <cp:lastModifiedBy>Masaki Katou</cp:lastModifiedBy>
  <cp:revision>68</cp:revision>
  <dcterms:created xsi:type="dcterms:W3CDTF">2022-09-21T09:39:33Z</dcterms:created>
  <dcterms:modified xsi:type="dcterms:W3CDTF">2023-07-15T12:07:39Z</dcterms:modified>
</cp:coreProperties>
</file>